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695" r:id="rId2"/>
  </p:sldMasterIdLst>
  <p:notesMasterIdLst>
    <p:notesMasterId r:id="rId11"/>
  </p:notesMasterIdLst>
  <p:handoutMasterIdLst>
    <p:handoutMasterId r:id="rId12"/>
  </p:handoutMasterIdLst>
  <p:sldIdLst>
    <p:sldId id="730" r:id="rId3"/>
    <p:sldId id="766" r:id="rId4"/>
    <p:sldId id="837" r:id="rId5"/>
    <p:sldId id="847" r:id="rId6"/>
    <p:sldId id="842" r:id="rId7"/>
    <p:sldId id="848" r:id="rId8"/>
    <p:sldId id="849" r:id="rId9"/>
    <p:sldId id="764" r:id="rId10"/>
  </p:sldIdLst>
  <p:sldSz cx="12192000" cy="6858000"/>
  <p:notesSz cx="6797675" cy="9926638"/>
  <p:custDataLst>
    <p:tags r:id="rId13"/>
  </p:custDataLst>
  <p:defaultTextStyle>
    <a:defPPr>
      <a:defRPr lang="es-ES"/>
    </a:defPPr>
    <a:lvl1pPr marL="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765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965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753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473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1295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8495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506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39">
          <p15:clr>
            <a:srgbClr val="A4A3A4"/>
          </p15:clr>
        </p15:guide>
        <p15:guide id="2" pos="393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ufak, Youssef" initials="MY" lastIdx="5" clrIdx="0"/>
  <p:cmAuthor id="2" name="Espinal Corrales, Juan" initials="ECJ" lastIdx="1" clrIdx="1"/>
  <p:cmAuthor id="3" name="Amine DOUMA" initials="AD" lastIdx="1" clrIdx="2">
    <p:extLst>
      <p:ext uri="{19B8F6BF-5375-455C-9EA6-DF929625EA0E}">
        <p15:presenceInfo xmlns:p15="http://schemas.microsoft.com/office/powerpoint/2012/main" userId="4111f25f9377488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67A93"/>
    <a:srgbClr val="D9D9D9"/>
    <a:srgbClr val="F2F2F2"/>
    <a:srgbClr val="1A3B47"/>
    <a:srgbClr val="FFFFFF"/>
    <a:srgbClr val="BFBFBF"/>
    <a:srgbClr val="E1EFF4"/>
    <a:srgbClr val="C9E8E1"/>
    <a:srgbClr val="68AEC8"/>
    <a:srgbClr val="B3D7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542" autoAdjust="0"/>
    <p:restoredTop sz="85654" autoAdjust="0"/>
  </p:normalViewPr>
  <p:slideViewPr>
    <p:cSldViewPr snapToObjects="1" showGuides="1">
      <p:cViewPr varScale="1">
        <p:scale>
          <a:sx n="95" d="100"/>
          <a:sy n="95" d="100"/>
        </p:scale>
        <p:origin x="702" y="78"/>
      </p:cViewPr>
      <p:guideLst>
        <p:guide orient="horz" pos="3339"/>
        <p:guide pos="3930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-31240"/>
    </p:cViewPr>
  </p:sorterViewPr>
  <p:notesViewPr>
    <p:cSldViewPr snapToObjects="1">
      <p:cViewPr varScale="1">
        <p:scale>
          <a:sx n="113" d="100"/>
          <a:sy n="113" d="100"/>
        </p:scale>
        <p:origin x="3608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/>
            </a:lvl1pPr>
          </a:lstStyle>
          <a:p>
            <a:fld id="{44FE4C93-B9AD-774B-B059-E1A53E3045D5}" type="datetimeFigureOut">
              <a:rPr lang="es-ES" smtClean="0">
                <a:latin typeface="Soho Gothic Pro Light" panose="020B0303030504020204" pitchFamily="34" charset="0"/>
              </a:rPr>
              <a:t>24/06/2021</a:t>
            </a:fld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/>
            </a:lvl1pPr>
          </a:lstStyle>
          <a:p>
            <a:fld id="{13E42EBE-F2C8-DB4B-9CF8-781446FF5229}" type="slidenum">
              <a:rPr lang="es-ES" smtClean="0">
                <a:latin typeface="Soho Gothic Pro Light" panose="020B0303030504020204" pitchFamily="34" charset="0"/>
              </a:rPr>
              <a:t>‹N°›</a:t>
            </a:fld>
            <a:endParaRPr lang="es-ES" dirty="0">
              <a:latin typeface="Soho Gothic Pro Light" panose="020B0303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C82A976D-0EBD-E345-809C-21C952C27942}" type="datetimeFigureOut">
              <a:rPr lang="es-ES" smtClean="0"/>
              <a:t>24/06/2021</a:t>
            </a:fld>
            <a:endParaRPr lang="es-ES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45" tIns="46173" rIns="92345" bIns="46173" rtlCol="0" anchor="ctr"/>
          <a:lstStyle/>
          <a:p>
            <a:endParaRPr lang="es-ES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92345" tIns="46173" rIns="92345" bIns="46173" rtlCol="0"/>
          <a:lstStyle/>
          <a:p>
            <a:r>
              <a:rPr lang="es-ES"/>
              <a:t>Editar los estilos de texto del patrón
Segundo nivel
Tercer nivel
Cuarto nivel
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7001BFE9-5FDD-E045-9186-025D41341214}" type="slidenum">
              <a:rPr lang="es-ES" smtClean="0"/>
              <a:t>‹N°›</a:t>
            </a:fld>
            <a:endParaRPr lang="es-E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1218565" rtl="0" eaLnBrk="1" latinLnBrk="0" hangingPunct="1">
      <a:defRPr sz="1600" kern="1200">
        <a:solidFill>
          <a:schemeClr val="tx1"/>
        </a:solidFill>
        <a:latin typeface="Soho Gothic Pro Light" panose="020B0303030504020204" pitchFamily="34" charset="0"/>
        <a:ea typeface="+mn-ea"/>
        <a:cs typeface="+mn-cs"/>
      </a:defRPr>
    </a:lvl1pPr>
    <a:lvl2pPr marL="608965" algn="l" defTabSz="121856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565" algn="l" defTabSz="121856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7530" algn="l" defTabSz="121856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6495" algn="l" defTabSz="121856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6095" algn="l" defTabSz="121856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5060" algn="l" defTabSz="121856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4660" algn="l" defTabSz="121856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3625" algn="l" defTabSz="121856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t>3</a:t>
            </a:fld>
            <a:endParaRPr lang="es-E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t>4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020755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t>5</a:t>
            </a:fld>
            <a:endParaRPr lang="es-E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t>6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547562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t>7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04125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3.emf"/><Relationship Id="rId4" Type="http://schemas.openxmlformats.org/officeDocument/2006/relationships/image" Target="../media/image6.emf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/>
          <p:cNvSpPr>
            <a:spLocks noGrp="1"/>
          </p:cNvSpPr>
          <p:nvPr>
            <p:ph type="pic" sz="quarter" idx="14"/>
          </p:nvPr>
        </p:nvSpPr>
        <p:spPr>
          <a:xfrm>
            <a:off x="0" y="4"/>
            <a:ext cx="12192000" cy="687741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/>
              <a:t>Haga clic en el icono para agregar una imagen</a:t>
            </a:r>
            <a:endParaRPr lang="es-ES" dirty="0"/>
          </a:p>
        </p:txBody>
      </p:sp>
      <p:sp>
        <p:nvSpPr>
          <p:cNvPr id="10" name="Marcador de contenido 10"/>
          <p:cNvSpPr>
            <a:spLocks noGrp="1"/>
          </p:cNvSpPr>
          <p:nvPr>
            <p:ph sz="quarter" idx="10" hasCustomPrompt="1"/>
          </p:nvPr>
        </p:nvSpPr>
        <p:spPr>
          <a:xfrm>
            <a:off x="336002" y="383588"/>
            <a:ext cx="3725333" cy="2147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5"/>
            </a:lvl1pPr>
          </a:lstStyle>
          <a:p>
            <a:r>
              <a:rPr lang="es-ES" dirty="0"/>
              <a:t>Editar el subtitulo de presentación 
</a:t>
            </a:r>
          </a:p>
        </p:txBody>
      </p:sp>
      <p:sp>
        <p:nvSpPr>
          <p:cNvPr id="6" name="Marcador de contenido 10"/>
          <p:cNvSpPr>
            <a:spLocks noGrp="1"/>
          </p:cNvSpPr>
          <p:nvPr>
            <p:ph sz="quarter" idx="12" hasCustomPrompt="1"/>
          </p:nvPr>
        </p:nvSpPr>
        <p:spPr>
          <a:xfrm>
            <a:off x="336002" y="689241"/>
            <a:ext cx="3725333" cy="15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335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sz="quarter" idx="13" hasCustomPrompt="1"/>
          </p:nvPr>
        </p:nvSpPr>
        <p:spPr>
          <a:xfrm>
            <a:off x="336000" y="986371"/>
            <a:ext cx="1799167" cy="63923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39954" y="2873081"/>
            <a:ext cx="6626810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5995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a n1.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/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/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/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/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/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  <a:gd name="connsiteX0-37" fmla="*/ 0 w 3568703"/>
              <a:gd name="connsiteY0-38" fmla="*/ 2169160 h 2214880"/>
              <a:gd name="connsiteX1-39" fmla="*/ 0 w 3568703"/>
              <a:gd name="connsiteY1-40" fmla="*/ 817880 h 2214880"/>
              <a:gd name="connsiteX2-41" fmla="*/ 2877820 w 3568703"/>
              <a:gd name="connsiteY2-42" fmla="*/ 0 h 2214880"/>
              <a:gd name="connsiteX3-43" fmla="*/ 3568700 w 3568703"/>
              <a:gd name="connsiteY3-44" fmla="*/ 2189480 h 2214880"/>
              <a:gd name="connsiteX4-45" fmla="*/ 0 w 3568703"/>
              <a:gd name="connsiteY4-46" fmla="*/ 2214880 h 2214880"/>
              <a:gd name="connsiteX5-47" fmla="*/ 0 w 3568703"/>
              <a:gd name="connsiteY5-48" fmla="*/ 2169160 h 2214880"/>
              <a:gd name="connsiteX0-49" fmla="*/ 0 w 2893168"/>
              <a:gd name="connsiteY0-50" fmla="*/ 2169160 h 2214880"/>
              <a:gd name="connsiteX1-51" fmla="*/ 0 w 2893168"/>
              <a:gd name="connsiteY1-52" fmla="*/ 817880 h 2214880"/>
              <a:gd name="connsiteX2-53" fmla="*/ 2877820 w 2893168"/>
              <a:gd name="connsiteY2-54" fmla="*/ 0 h 2214880"/>
              <a:gd name="connsiteX3-55" fmla="*/ 2893060 w 2893168"/>
              <a:gd name="connsiteY3-56" fmla="*/ 2194560 h 2214880"/>
              <a:gd name="connsiteX4-57" fmla="*/ 0 w 2893168"/>
              <a:gd name="connsiteY4-58" fmla="*/ 2214880 h 2214880"/>
              <a:gd name="connsiteX5-59" fmla="*/ 0 w 2893168"/>
              <a:gd name="connsiteY5-60" fmla="*/ 2169160 h 2214880"/>
              <a:gd name="connsiteX0-61" fmla="*/ 0 w 2879375"/>
              <a:gd name="connsiteY0-62" fmla="*/ 2169160 h 2757268"/>
              <a:gd name="connsiteX1-63" fmla="*/ 0 w 2879375"/>
              <a:gd name="connsiteY1-64" fmla="*/ 817880 h 2757268"/>
              <a:gd name="connsiteX2-65" fmla="*/ 2877820 w 2879375"/>
              <a:gd name="connsiteY2-66" fmla="*/ 0 h 2757268"/>
              <a:gd name="connsiteX3-67" fmla="*/ 2878992 w 2879375"/>
              <a:gd name="connsiteY3-68" fmla="*/ 2757268 h 2757268"/>
              <a:gd name="connsiteX4-69" fmla="*/ 0 w 2879375"/>
              <a:gd name="connsiteY4-70" fmla="*/ 2214880 h 2757268"/>
              <a:gd name="connsiteX5-71" fmla="*/ 0 w 2879375"/>
              <a:gd name="connsiteY5-72" fmla="*/ 2169160 h 2757268"/>
              <a:gd name="connsiteX0-73" fmla="*/ 24713 w 2904088"/>
              <a:gd name="connsiteY0-74" fmla="*/ 2169160 h 2770934"/>
              <a:gd name="connsiteX1-75" fmla="*/ 24713 w 2904088"/>
              <a:gd name="connsiteY1-76" fmla="*/ 817880 h 2770934"/>
              <a:gd name="connsiteX2-77" fmla="*/ 2902533 w 2904088"/>
              <a:gd name="connsiteY2-78" fmla="*/ 0 h 2770934"/>
              <a:gd name="connsiteX3-79" fmla="*/ 2903705 w 2904088"/>
              <a:gd name="connsiteY3-80" fmla="*/ 2757268 h 2770934"/>
              <a:gd name="connsiteX4-81" fmla="*/ 0 w 2904088"/>
              <a:gd name="connsiteY4-82" fmla="*/ 2770934 h 2770934"/>
              <a:gd name="connsiteX5-83" fmla="*/ 24713 w 2904088"/>
              <a:gd name="connsiteY5-84" fmla="*/ 2169160 h 2770934"/>
              <a:gd name="connsiteX0-85" fmla="*/ 0 w 2879375"/>
              <a:gd name="connsiteY0-86" fmla="*/ 2169160 h 2985118"/>
              <a:gd name="connsiteX1-87" fmla="*/ 0 w 2879375"/>
              <a:gd name="connsiteY1-88" fmla="*/ 817880 h 2985118"/>
              <a:gd name="connsiteX2-89" fmla="*/ 2877820 w 2879375"/>
              <a:gd name="connsiteY2-90" fmla="*/ 0 h 2985118"/>
              <a:gd name="connsiteX3-91" fmla="*/ 2878992 w 2879375"/>
              <a:gd name="connsiteY3-92" fmla="*/ 2757268 h 2985118"/>
              <a:gd name="connsiteX4-93" fmla="*/ 8239 w 2879375"/>
              <a:gd name="connsiteY4-94" fmla="*/ 2985118 h 2985118"/>
              <a:gd name="connsiteX5-95" fmla="*/ 0 w 2879375"/>
              <a:gd name="connsiteY5-96" fmla="*/ 2169160 h 2985118"/>
              <a:gd name="connsiteX0-97" fmla="*/ 0 w 2879375"/>
              <a:gd name="connsiteY0-98" fmla="*/ 2169160 h 2985118"/>
              <a:gd name="connsiteX1-99" fmla="*/ 0 w 2879375"/>
              <a:gd name="connsiteY1-100" fmla="*/ 817880 h 2985118"/>
              <a:gd name="connsiteX2-101" fmla="*/ 2877820 w 2879375"/>
              <a:gd name="connsiteY2-102" fmla="*/ 0 h 2985118"/>
              <a:gd name="connsiteX3-103" fmla="*/ 2878992 w 2879375"/>
              <a:gd name="connsiteY3-104" fmla="*/ 2959095 h 2985118"/>
              <a:gd name="connsiteX4-105" fmla="*/ 8239 w 2879375"/>
              <a:gd name="connsiteY4-106" fmla="*/ 2985118 h 2985118"/>
              <a:gd name="connsiteX5-107" fmla="*/ 0 w 2879375"/>
              <a:gd name="connsiteY5-108" fmla="*/ 2169160 h 298511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17" name="Forma libre 16"/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033254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033254 h 5151120"/>
              <a:gd name="connsiteX0-13" fmla="*/ 26520 w 3600300"/>
              <a:gd name="connsiteY0-14" fmla="*/ 2033254 h 5151120"/>
              <a:gd name="connsiteX1-15" fmla="*/ 26520 w 3600300"/>
              <a:gd name="connsiteY1-16" fmla="*/ 1021080 h 5151120"/>
              <a:gd name="connsiteX2-17" fmla="*/ 3600300 w 3600300"/>
              <a:gd name="connsiteY2-18" fmla="*/ 0 h 5151120"/>
              <a:gd name="connsiteX3-19" fmla="*/ 3600300 w 3600300"/>
              <a:gd name="connsiteY3-20" fmla="*/ 5151120 h 5151120"/>
              <a:gd name="connsiteX4-21" fmla="*/ 0 w 3600300"/>
              <a:gd name="connsiteY4-22" fmla="*/ 1902452 h 5151120"/>
              <a:gd name="connsiteX5-23" fmla="*/ 26520 w 3600300"/>
              <a:gd name="connsiteY5-24" fmla="*/ 2033254 h 5151120"/>
              <a:gd name="connsiteX0-25" fmla="*/ 26520 w 3600300"/>
              <a:gd name="connsiteY0-26" fmla="*/ 2033254 h 2033254"/>
              <a:gd name="connsiteX1-27" fmla="*/ 26520 w 3600300"/>
              <a:gd name="connsiteY1-28" fmla="*/ 1021080 h 2033254"/>
              <a:gd name="connsiteX2-29" fmla="*/ 3600300 w 3600300"/>
              <a:gd name="connsiteY2-30" fmla="*/ 0 h 2033254"/>
              <a:gd name="connsiteX3-31" fmla="*/ 3555180 w 3600300"/>
              <a:gd name="connsiteY3-32" fmla="*/ 1902452 h 2033254"/>
              <a:gd name="connsiteX4-33" fmla="*/ 0 w 3600300"/>
              <a:gd name="connsiteY4-34" fmla="*/ 1902452 h 2033254"/>
              <a:gd name="connsiteX5-35" fmla="*/ 26520 w 3600300"/>
              <a:gd name="connsiteY5-36" fmla="*/ 2033254 h 2033254"/>
              <a:gd name="connsiteX0-37" fmla="*/ 26520 w 3607821"/>
              <a:gd name="connsiteY0-38" fmla="*/ 2033254 h 2033254"/>
              <a:gd name="connsiteX1-39" fmla="*/ 26520 w 3607821"/>
              <a:gd name="connsiteY1-40" fmla="*/ 1021080 h 2033254"/>
              <a:gd name="connsiteX2-41" fmla="*/ 3600300 w 3607821"/>
              <a:gd name="connsiteY2-42" fmla="*/ 0 h 2033254"/>
              <a:gd name="connsiteX3-43" fmla="*/ 3607821 w 3607821"/>
              <a:gd name="connsiteY3-44" fmla="*/ 1906212 h 2033254"/>
              <a:gd name="connsiteX4-45" fmla="*/ 0 w 3607821"/>
              <a:gd name="connsiteY4-46" fmla="*/ 1902452 h 2033254"/>
              <a:gd name="connsiteX5-47" fmla="*/ 26520 w 3607821"/>
              <a:gd name="connsiteY5-48" fmla="*/ 2033254 h 2033254"/>
              <a:gd name="connsiteX0-49" fmla="*/ 30280 w 3607821"/>
              <a:gd name="connsiteY0-50" fmla="*/ 1860293 h 1906212"/>
              <a:gd name="connsiteX1-51" fmla="*/ 26520 w 3607821"/>
              <a:gd name="connsiteY1-52" fmla="*/ 1021080 h 1906212"/>
              <a:gd name="connsiteX2-53" fmla="*/ 3600300 w 3607821"/>
              <a:gd name="connsiteY2-54" fmla="*/ 0 h 1906212"/>
              <a:gd name="connsiteX3-55" fmla="*/ 3607821 w 3607821"/>
              <a:gd name="connsiteY3-56" fmla="*/ 1906212 h 1906212"/>
              <a:gd name="connsiteX4-57" fmla="*/ 0 w 3607821"/>
              <a:gd name="connsiteY4-58" fmla="*/ 1902452 h 1906212"/>
              <a:gd name="connsiteX5-59" fmla="*/ 30280 w 3607821"/>
              <a:gd name="connsiteY5-60" fmla="*/ 1860293 h 1906212"/>
              <a:gd name="connsiteX0-61" fmla="*/ 3760 w 3581301"/>
              <a:gd name="connsiteY0-62" fmla="*/ 1860293 h 1909972"/>
              <a:gd name="connsiteX1-63" fmla="*/ 0 w 3581301"/>
              <a:gd name="connsiteY1-64" fmla="*/ 1021080 h 1909972"/>
              <a:gd name="connsiteX2-65" fmla="*/ 3573780 w 3581301"/>
              <a:gd name="connsiteY2-66" fmla="*/ 0 h 1909972"/>
              <a:gd name="connsiteX3-67" fmla="*/ 3581301 w 3581301"/>
              <a:gd name="connsiteY3-68" fmla="*/ 1906212 h 1909972"/>
              <a:gd name="connsiteX4-69" fmla="*/ 11080 w 3581301"/>
              <a:gd name="connsiteY4-70" fmla="*/ 1909972 h 1909972"/>
              <a:gd name="connsiteX5-71" fmla="*/ 3760 w 3581301"/>
              <a:gd name="connsiteY5-72" fmla="*/ 1860293 h 190997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 dirty="0"/>
          </a:p>
        </p:txBody>
      </p:sp>
      <p:sp>
        <p:nvSpPr>
          <p:cNvPr id="5" name="Forma libre 4"/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/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  <a:gd name="connsiteX0-37" fmla="*/ 0 w 3568703"/>
              <a:gd name="connsiteY0-38" fmla="*/ 2169160 h 2214880"/>
              <a:gd name="connsiteX1-39" fmla="*/ 0 w 3568703"/>
              <a:gd name="connsiteY1-40" fmla="*/ 817880 h 2214880"/>
              <a:gd name="connsiteX2-41" fmla="*/ 2877820 w 3568703"/>
              <a:gd name="connsiteY2-42" fmla="*/ 0 h 2214880"/>
              <a:gd name="connsiteX3-43" fmla="*/ 3568700 w 3568703"/>
              <a:gd name="connsiteY3-44" fmla="*/ 2189480 h 2214880"/>
              <a:gd name="connsiteX4-45" fmla="*/ 0 w 3568703"/>
              <a:gd name="connsiteY4-46" fmla="*/ 2214880 h 2214880"/>
              <a:gd name="connsiteX5-47" fmla="*/ 0 w 3568703"/>
              <a:gd name="connsiteY5-48" fmla="*/ 2169160 h 2214880"/>
              <a:gd name="connsiteX0-49" fmla="*/ 0 w 2893168"/>
              <a:gd name="connsiteY0-50" fmla="*/ 2169160 h 2214880"/>
              <a:gd name="connsiteX1-51" fmla="*/ 0 w 2893168"/>
              <a:gd name="connsiteY1-52" fmla="*/ 817880 h 2214880"/>
              <a:gd name="connsiteX2-53" fmla="*/ 2877820 w 2893168"/>
              <a:gd name="connsiteY2-54" fmla="*/ 0 h 2214880"/>
              <a:gd name="connsiteX3-55" fmla="*/ 2893060 w 2893168"/>
              <a:gd name="connsiteY3-56" fmla="*/ 2194560 h 2214880"/>
              <a:gd name="connsiteX4-57" fmla="*/ 0 w 2893168"/>
              <a:gd name="connsiteY4-58" fmla="*/ 2214880 h 2214880"/>
              <a:gd name="connsiteX5-59" fmla="*/ 0 w 2893168"/>
              <a:gd name="connsiteY5-60" fmla="*/ 2169160 h 2214880"/>
              <a:gd name="connsiteX0-61" fmla="*/ 0 w 2879375"/>
              <a:gd name="connsiteY0-62" fmla="*/ 2169160 h 2757268"/>
              <a:gd name="connsiteX1-63" fmla="*/ 0 w 2879375"/>
              <a:gd name="connsiteY1-64" fmla="*/ 817880 h 2757268"/>
              <a:gd name="connsiteX2-65" fmla="*/ 2877820 w 2879375"/>
              <a:gd name="connsiteY2-66" fmla="*/ 0 h 2757268"/>
              <a:gd name="connsiteX3-67" fmla="*/ 2878992 w 2879375"/>
              <a:gd name="connsiteY3-68" fmla="*/ 2757268 h 2757268"/>
              <a:gd name="connsiteX4-69" fmla="*/ 0 w 2879375"/>
              <a:gd name="connsiteY4-70" fmla="*/ 2214880 h 2757268"/>
              <a:gd name="connsiteX5-71" fmla="*/ 0 w 2879375"/>
              <a:gd name="connsiteY5-72" fmla="*/ 2169160 h 2757268"/>
              <a:gd name="connsiteX0-73" fmla="*/ 24713 w 2904088"/>
              <a:gd name="connsiteY0-74" fmla="*/ 2169160 h 2770934"/>
              <a:gd name="connsiteX1-75" fmla="*/ 24713 w 2904088"/>
              <a:gd name="connsiteY1-76" fmla="*/ 817880 h 2770934"/>
              <a:gd name="connsiteX2-77" fmla="*/ 2902533 w 2904088"/>
              <a:gd name="connsiteY2-78" fmla="*/ 0 h 2770934"/>
              <a:gd name="connsiteX3-79" fmla="*/ 2903705 w 2904088"/>
              <a:gd name="connsiteY3-80" fmla="*/ 2757268 h 2770934"/>
              <a:gd name="connsiteX4-81" fmla="*/ 0 w 2904088"/>
              <a:gd name="connsiteY4-82" fmla="*/ 2770934 h 2770934"/>
              <a:gd name="connsiteX5-83" fmla="*/ 24713 w 2904088"/>
              <a:gd name="connsiteY5-84" fmla="*/ 2169160 h 2770934"/>
              <a:gd name="connsiteX0-85" fmla="*/ 0 w 2879375"/>
              <a:gd name="connsiteY0-86" fmla="*/ 2169160 h 2985118"/>
              <a:gd name="connsiteX1-87" fmla="*/ 0 w 2879375"/>
              <a:gd name="connsiteY1-88" fmla="*/ 817880 h 2985118"/>
              <a:gd name="connsiteX2-89" fmla="*/ 2877820 w 2879375"/>
              <a:gd name="connsiteY2-90" fmla="*/ 0 h 2985118"/>
              <a:gd name="connsiteX3-91" fmla="*/ 2878992 w 2879375"/>
              <a:gd name="connsiteY3-92" fmla="*/ 2757268 h 2985118"/>
              <a:gd name="connsiteX4-93" fmla="*/ 8239 w 2879375"/>
              <a:gd name="connsiteY4-94" fmla="*/ 2985118 h 2985118"/>
              <a:gd name="connsiteX5-95" fmla="*/ 0 w 2879375"/>
              <a:gd name="connsiteY5-96" fmla="*/ 2169160 h 2985118"/>
              <a:gd name="connsiteX0-97" fmla="*/ 0 w 2879375"/>
              <a:gd name="connsiteY0-98" fmla="*/ 2169160 h 2985118"/>
              <a:gd name="connsiteX1-99" fmla="*/ 0 w 2879375"/>
              <a:gd name="connsiteY1-100" fmla="*/ 817880 h 2985118"/>
              <a:gd name="connsiteX2-101" fmla="*/ 2877820 w 2879375"/>
              <a:gd name="connsiteY2-102" fmla="*/ 0 h 2985118"/>
              <a:gd name="connsiteX3-103" fmla="*/ 2878992 w 2879375"/>
              <a:gd name="connsiteY3-104" fmla="*/ 2959095 h 2985118"/>
              <a:gd name="connsiteX4-105" fmla="*/ 8239 w 2879375"/>
              <a:gd name="connsiteY4-106" fmla="*/ 2985118 h 2985118"/>
              <a:gd name="connsiteX5-107" fmla="*/ 0 w 2879375"/>
              <a:gd name="connsiteY5-108" fmla="*/ 2169160 h 298511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17" name="Forma libre 16"/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033254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033254 h 5151120"/>
              <a:gd name="connsiteX0-13" fmla="*/ 26520 w 3600300"/>
              <a:gd name="connsiteY0-14" fmla="*/ 2033254 h 5151120"/>
              <a:gd name="connsiteX1-15" fmla="*/ 26520 w 3600300"/>
              <a:gd name="connsiteY1-16" fmla="*/ 1021080 h 5151120"/>
              <a:gd name="connsiteX2-17" fmla="*/ 3600300 w 3600300"/>
              <a:gd name="connsiteY2-18" fmla="*/ 0 h 5151120"/>
              <a:gd name="connsiteX3-19" fmla="*/ 3600300 w 3600300"/>
              <a:gd name="connsiteY3-20" fmla="*/ 5151120 h 5151120"/>
              <a:gd name="connsiteX4-21" fmla="*/ 0 w 3600300"/>
              <a:gd name="connsiteY4-22" fmla="*/ 1902452 h 5151120"/>
              <a:gd name="connsiteX5-23" fmla="*/ 26520 w 3600300"/>
              <a:gd name="connsiteY5-24" fmla="*/ 2033254 h 5151120"/>
              <a:gd name="connsiteX0-25" fmla="*/ 26520 w 3600300"/>
              <a:gd name="connsiteY0-26" fmla="*/ 2033254 h 2033254"/>
              <a:gd name="connsiteX1-27" fmla="*/ 26520 w 3600300"/>
              <a:gd name="connsiteY1-28" fmla="*/ 1021080 h 2033254"/>
              <a:gd name="connsiteX2-29" fmla="*/ 3600300 w 3600300"/>
              <a:gd name="connsiteY2-30" fmla="*/ 0 h 2033254"/>
              <a:gd name="connsiteX3-31" fmla="*/ 3555180 w 3600300"/>
              <a:gd name="connsiteY3-32" fmla="*/ 1902452 h 2033254"/>
              <a:gd name="connsiteX4-33" fmla="*/ 0 w 3600300"/>
              <a:gd name="connsiteY4-34" fmla="*/ 1902452 h 2033254"/>
              <a:gd name="connsiteX5-35" fmla="*/ 26520 w 3600300"/>
              <a:gd name="connsiteY5-36" fmla="*/ 2033254 h 2033254"/>
              <a:gd name="connsiteX0-37" fmla="*/ 26520 w 3607821"/>
              <a:gd name="connsiteY0-38" fmla="*/ 2033254 h 2033254"/>
              <a:gd name="connsiteX1-39" fmla="*/ 26520 w 3607821"/>
              <a:gd name="connsiteY1-40" fmla="*/ 1021080 h 2033254"/>
              <a:gd name="connsiteX2-41" fmla="*/ 3600300 w 3607821"/>
              <a:gd name="connsiteY2-42" fmla="*/ 0 h 2033254"/>
              <a:gd name="connsiteX3-43" fmla="*/ 3607821 w 3607821"/>
              <a:gd name="connsiteY3-44" fmla="*/ 1906212 h 2033254"/>
              <a:gd name="connsiteX4-45" fmla="*/ 0 w 3607821"/>
              <a:gd name="connsiteY4-46" fmla="*/ 1902452 h 2033254"/>
              <a:gd name="connsiteX5-47" fmla="*/ 26520 w 3607821"/>
              <a:gd name="connsiteY5-48" fmla="*/ 2033254 h 2033254"/>
              <a:gd name="connsiteX0-49" fmla="*/ 30280 w 3607821"/>
              <a:gd name="connsiteY0-50" fmla="*/ 1860293 h 1906212"/>
              <a:gd name="connsiteX1-51" fmla="*/ 26520 w 3607821"/>
              <a:gd name="connsiteY1-52" fmla="*/ 1021080 h 1906212"/>
              <a:gd name="connsiteX2-53" fmla="*/ 3600300 w 3607821"/>
              <a:gd name="connsiteY2-54" fmla="*/ 0 h 1906212"/>
              <a:gd name="connsiteX3-55" fmla="*/ 3607821 w 3607821"/>
              <a:gd name="connsiteY3-56" fmla="*/ 1906212 h 1906212"/>
              <a:gd name="connsiteX4-57" fmla="*/ 0 w 3607821"/>
              <a:gd name="connsiteY4-58" fmla="*/ 1902452 h 1906212"/>
              <a:gd name="connsiteX5-59" fmla="*/ 30280 w 3607821"/>
              <a:gd name="connsiteY5-60" fmla="*/ 1860293 h 1906212"/>
              <a:gd name="connsiteX0-61" fmla="*/ 3760 w 3581301"/>
              <a:gd name="connsiteY0-62" fmla="*/ 1860293 h 1909972"/>
              <a:gd name="connsiteX1-63" fmla="*/ 0 w 3581301"/>
              <a:gd name="connsiteY1-64" fmla="*/ 1021080 h 1909972"/>
              <a:gd name="connsiteX2-65" fmla="*/ 3573780 w 3581301"/>
              <a:gd name="connsiteY2-66" fmla="*/ 0 h 1909972"/>
              <a:gd name="connsiteX3-67" fmla="*/ 3581301 w 3581301"/>
              <a:gd name="connsiteY3-68" fmla="*/ 1906212 h 1909972"/>
              <a:gd name="connsiteX4-69" fmla="*/ 11080 w 3581301"/>
              <a:gd name="connsiteY4-70" fmla="*/ 1909972 h 1909972"/>
              <a:gd name="connsiteX5-71" fmla="*/ 3760 w 3581301"/>
              <a:gd name="connsiteY5-72" fmla="*/ 1860293 h 190997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 dirty="0"/>
          </a:p>
        </p:txBody>
      </p:sp>
      <p:sp>
        <p:nvSpPr>
          <p:cNvPr id="5" name="Forma libre 4"/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tx1"/>
                </a:solidFill>
              </a:rPr>
              <a:t>‹N°›</a:t>
            </a:fld>
            <a:endParaRPr lang="es-ES" sz="1065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1_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/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  <a:gd name="connsiteX0-37" fmla="*/ 0 w 3568703"/>
              <a:gd name="connsiteY0-38" fmla="*/ 2169160 h 2214880"/>
              <a:gd name="connsiteX1-39" fmla="*/ 0 w 3568703"/>
              <a:gd name="connsiteY1-40" fmla="*/ 817880 h 2214880"/>
              <a:gd name="connsiteX2-41" fmla="*/ 2877820 w 3568703"/>
              <a:gd name="connsiteY2-42" fmla="*/ 0 h 2214880"/>
              <a:gd name="connsiteX3-43" fmla="*/ 3568700 w 3568703"/>
              <a:gd name="connsiteY3-44" fmla="*/ 2189480 h 2214880"/>
              <a:gd name="connsiteX4-45" fmla="*/ 0 w 3568703"/>
              <a:gd name="connsiteY4-46" fmla="*/ 2214880 h 2214880"/>
              <a:gd name="connsiteX5-47" fmla="*/ 0 w 3568703"/>
              <a:gd name="connsiteY5-48" fmla="*/ 2169160 h 2214880"/>
              <a:gd name="connsiteX0-49" fmla="*/ 0 w 2893168"/>
              <a:gd name="connsiteY0-50" fmla="*/ 2169160 h 2214880"/>
              <a:gd name="connsiteX1-51" fmla="*/ 0 w 2893168"/>
              <a:gd name="connsiteY1-52" fmla="*/ 817880 h 2214880"/>
              <a:gd name="connsiteX2-53" fmla="*/ 2877820 w 2893168"/>
              <a:gd name="connsiteY2-54" fmla="*/ 0 h 2214880"/>
              <a:gd name="connsiteX3-55" fmla="*/ 2893060 w 2893168"/>
              <a:gd name="connsiteY3-56" fmla="*/ 2194560 h 2214880"/>
              <a:gd name="connsiteX4-57" fmla="*/ 0 w 2893168"/>
              <a:gd name="connsiteY4-58" fmla="*/ 2214880 h 2214880"/>
              <a:gd name="connsiteX5-59" fmla="*/ 0 w 2893168"/>
              <a:gd name="connsiteY5-60" fmla="*/ 2169160 h 2214880"/>
              <a:gd name="connsiteX0-61" fmla="*/ 0 w 2879375"/>
              <a:gd name="connsiteY0-62" fmla="*/ 2169160 h 2757268"/>
              <a:gd name="connsiteX1-63" fmla="*/ 0 w 2879375"/>
              <a:gd name="connsiteY1-64" fmla="*/ 817880 h 2757268"/>
              <a:gd name="connsiteX2-65" fmla="*/ 2877820 w 2879375"/>
              <a:gd name="connsiteY2-66" fmla="*/ 0 h 2757268"/>
              <a:gd name="connsiteX3-67" fmla="*/ 2878992 w 2879375"/>
              <a:gd name="connsiteY3-68" fmla="*/ 2757268 h 2757268"/>
              <a:gd name="connsiteX4-69" fmla="*/ 0 w 2879375"/>
              <a:gd name="connsiteY4-70" fmla="*/ 2214880 h 2757268"/>
              <a:gd name="connsiteX5-71" fmla="*/ 0 w 2879375"/>
              <a:gd name="connsiteY5-72" fmla="*/ 2169160 h 2757268"/>
              <a:gd name="connsiteX0-73" fmla="*/ 24713 w 2904088"/>
              <a:gd name="connsiteY0-74" fmla="*/ 2169160 h 2770934"/>
              <a:gd name="connsiteX1-75" fmla="*/ 24713 w 2904088"/>
              <a:gd name="connsiteY1-76" fmla="*/ 817880 h 2770934"/>
              <a:gd name="connsiteX2-77" fmla="*/ 2902533 w 2904088"/>
              <a:gd name="connsiteY2-78" fmla="*/ 0 h 2770934"/>
              <a:gd name="connsiteX3-79" fmla="*/ 2903705 w 2904088"/>
              <a:gd name="connsiteY3-80" fmla="*/ 2757268 h 2770934"/>
              <a:gd name="connsiteX4-81" fmla="*/ 0 w 2904088"/>
              <a:gd name="connsiteY4-82" fmla="*/ 2770934 h 2770934"/>
              <a:gd name="connsiteX5-83" fmla="*/ 24713 w 2904088"/>
              <a:gd name="connsiteY5-84" fmla="*/ 2169160 h 2770934"/>
              <a:gd name="connsiteX0-85" fmla="*/ 0 w 2879375"/>
              <a:gd name="connsiteY0-86" fmla="*/ 2169160 h 2985118"/>
              <a:gd name="connsiteX1-87" fmla="*/ 0 w 2879375"/>
              <a:gd name="connsiteY1-88" fmla="*/ 817880 h 2985118"/>
              <a:gd name="connsiteX2-89" fmla="*/ 2877820 w 2879375"/>
              <a:gd name="connsiteY2-90" fmla="*/ 0 h 2985118"/>
              <a:gd name="connsiteX3-91" fmla="*/ 2878992 w 2879375"/>
              <a:gd name="connsiteY3-92" fmla="*/ 2757268 h 2985118"/>
              <a:gd name="connsiteX4-93" fmla="*/ 8239 w 2879375"/>
              <a:gd name="connsiteY4-94" fmla="*/ 2985118 h 2985118"/>
              <a:gd name="connsiteX5-95" fmla="*/ 0 w 2879375"/>
              <a:gd name="connsiteY5-96" fmla="*/ 2169160 h 2985118"/>
              <a:gd name="connsiteX0-97" fmla="*/ 0 w 2879375"/>
              <a:gd name="connsiteY0-98" fmla="*/ 2169160 h 2985118"/>
              <a:gd name="connsiteX1-99" fmla="*/ 0 w 2879375"/>
              <a:gd name="connsiteY1-100" fmla="*/ 817880 h 2985118"/>
              <a:gd name="connsiteX2-101" fmla="*/ 2877820 w 2879375"/>
              <a:gd name="connsiteY2-102" fmla="*/ 0 h 2985118"/>
              <a:gd name="connsiteX3-103" fmla="*/ 2878992 w 2879375"/>
              <a:gd name="connsiteY3-104" fmla="*/ 2959095 h 2985118"/>
              <a:gd name="connsiteX4-105" fmla="*/ 8239 w 2879375"/>
              <a:gd name="connsiteY4-106" fmla="*/ 2985118 h 2985118"/>
              <a:gd name="connsiteX5-107" fmla="*/ 0 w 2879375"/>
              <a:gd name="connsiteY5-108" fmla="*/ 2169160 h 298511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17" name="Forma libre 16"/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033254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033254 h 5151120"/>
              <a:gd name="connsiteX0-13" fmla="*/ 26520 w 3600300"/>
              <a:gd name="connsiteY0-14" fmla="*/ 2033254 h 5151120"/>
              <a:gd name="connsiteX1-15" fmla="*/ 26520 w 3600300"/>
              <a:gd name="connsiteY1-16" fmla="*/ 1021080 h 5151120"/>
              <a:gd name="connsiteX2-17" fmla="*/ 3600300 w 3600300"/>
              <a:gd name="connsiteY2-18" fmla="*/ 0 h 5151120"/>
              <a:gd name="connsiteX3-19" fmla="*/ 3600300 w 3600300"/>
              <a:gd name="connsiteY3-20" fmla="*/ 5151120 h 5151120"/>
              <a:gd name="connsiteX4-21" fmla="*/ 0 w 3600300"/>
              <a:gd name="connsiteY4-22" fmla="*/ 1902452 h 5151120"/>
              <a:gd name="connsiteX5-23" fmla="*/ 26520 w 3600300"/>
              <a:gd name="connsiteY5-24" fmla="*/ 2033254 h 5151120"/>
              <a:gd name="connsiteX0-25" fmla="*/ 26520 w 3600300"/>
              <a:gd name="connsiteY0-26" fmla="*/ 2033254 h 2033254"/>
              <a:gd name="connsiteX1-27" fmla="*/ 26520 w 3600300"/>
              <a:gd name="connsiteY1-28" fmla="*/ 1021080 h 2033254"/>
              <a:gd name="connsiteX2-29" fmla="*/ 3600300 w 3600300"/>
              <a:gd name="connsiteY2-30" fmla="*/ 0 h 2033254"/>
              <a:gd name="connsiteX3-31" fmla="*/ 3555180 w 3600300"/>
              <a:gd name="connsiteY3-32" fmla="*/ 1902452 h 2033254"/>
              <a:gd name="connsiteX4-33" fmla="*/ 0 w 3600300"/>
              <a:gd name="connsiteY4-34" fmla="*/ 1902452 h 2033254"/>
              <a:gd name="connsiteX5-35" fmla="*/ 26520 w 3600300"/>
              <a:gd name="connsiteY5-36" fmla="*/ 2033254 h 2033254"/>
              <a:gd name="connsiteX0-37" fmla="*/ 26520 w 3607821"/>
              <a:gd name="connsiteY0-38" fmla="*/ 2033254 h 2033254"/>
              <a:gd name="connsiteX1-39" fmla="*/ 26520 w 3607821"/>
              <a:gd name="connsiteY1-40" fmla="*/ 1021080 h 2033254"/>
              <a:gd name="connsiteX2-41" fmla="*/ 3600300 w 3607821"/>
              <a:gd name="connsiteY2-42" fmla="*/ 0 h 2033254"/>
              <a:gd name="connsiteX3-43" fmla="*/ 3607821 w 3607821"/>
              <a:gd name="connsiteY3-44" fmla="*/ 1906212 h 2033254"/>
              <a:gd name="connsiteX4-45" fmla="*/ 0 w 3607821"/>
              <a:gd name="connsiteY4-46" fmla="*/ 1902452 h 2033254"/>
              <a:gd name="connsiteX5-47" fmla="*/ 26520 w 3607821"/>
              <a:gd name="connsiteY5-48" fmla="*/ 2033254 h 2033254"/>
              <a:gd name="connsiteX0-49" fmla="*/ 30280 w 3607821"/>
              <a:gd name="connsiteY0-50" fmla="*/ 1860293 h 1906212"/>
              <a:gd name="connsiteX1-51" fmla="*/ 26520 w 3607821"/>
              <a:gd name="connsiteY1-52" fmla="*/ 1021080 h 1906212"/>
              <a:gd name="connsiteX2-53" fmla="*/ 3600300 w 3607821"/>
              <a:gd name="connsiteY2-54" fmla="*/ 0 h 1906212"/>
              <a:gd name="connsiteX3-55" fmla="*/ 3607821 w 3607821"/>
              <a:gd name="connsiteY3-56" fmla="*/ 1906212 h 1906212"/>
              <a:gd name="connsiteX4-57" fmla="*/ 0 w 3607821"/>
              <a:gd name="connsiteY4-58" fmla="*/ 1902452 h 1906212"/>
              <a:gd name="connsiteX5-59" fmla="*/ 30280 w 3607821"/>
              <a:gd name="connsiteY5-60" fmla="*/ 1860293 h 1906212"/>
              <a:gd name="connsiteX0-61" fmla="*/ 3760 w 3581301"/>
              <a:gd name="connsiteY0-62" fmla="*/ 1860293 h 1909972"/>
              <a:gd name="connsiteX1-63" fmla="*/ 0 w 3581301"/>
              <a:gd name="connsiteY1-64" fmla="*/ 1021080 h 1909972"/>
              <a:gd name="connsiteX2-65" fmla="*/ 3573780 w 3581301"/>
              <a:gd name="connsiteY2-66" fmla="*/ 0 h 1909972"/>
              <a:gd name="connsiteX3-67" fmla="*/ 3581301 w 3581301"/>
              <a:gd name="connsiteY3-68" fmla="*/ 1906212 h 1909972"/>
              <a:gd name="connsiteX4-69" fmla="*/ 11080 w 3581301"/>
              <a:gd name="connsiteY4-70" fmla="*/ 1909972 h 1909972"/>
              <a:gd name="connsiteX5-71" fmla="*/ 3760 w 3581301"/>
              <a:gd name="connsiteY5-72" fmla="*/ 1860293 h 190997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 dirty="0"/>
          </a:p>
        </p:txBody>
      </p:sp>
      <p:sp>
        <p:nvSpPr>
          <p:cNvPr id="5" name="Forma libre 4"/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tx1"/>
                </a:solidFill>
              </a:rPr>
              <a:t>‹N°›</a:t>
            </a:fld>
            <a:endParaRPr lang="es-ES" sz="1065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/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  <a:gd name="connsiteX0-37" fmla="*/ 0 w 3568703"/>
              <a:gd name="connsiteY0-38" fmla="*/ 2169160 h 2214880"/>
              <a:gd name="connsiteX1-39" fmla="*/ 0 w 3568703"/>
              <a:gd name="connsiteY1-40" fmla="*/ 817880 h 2214880"/>
              <a:gd name="connsiteX2-41" fmla="*/ 2877820 w 3568703"/>
              <a:gd name="connsiteY2-42" fmla="*/ 0 h 2214880"/>
              <a:gd name="connsiteX3-43" fmla="*/ 3568700 w 3568703"/>
              <a:gd name="connsiteY3-44" fmla="*/ 2189480 h 2214880"/>
              <a:gd name="connsiteX4-45" fmla="*/ 0 w 3568703"/>
              <a:gd name="connsiteY4-46" fmla="*/ 2214880 h 2214880"/>
              <a:gd name="connsiteX5-47" fmla="*/ 0 w 3568703"/>
              <a:gd name="connsiteY5-48" fmla="*/ 2169160 h 2214880"/>
              <a:gd name="connsiteX0-49" fmla="*/ 0 w 2893168"/>
              <a:gd name="connsiteY0-50" fmla="*/ 2169160 h 2214880"/>
              <a:gd name="connsiteX1-51" fmla="*/ 0 w 2893168"/>
              <a:gd name="connsiteY1-52" fmla="*/ 817880 h 2214880"/>
              <a:gd name="connsiteX2-53" fmla="*/ 2877820 w 2893168"/>
              <a:gd name="connsiteY2-54" fmla="*/ 0 h 2214880"/>
              <a:gd name="connsiteX3-55" fmla="*/ 2893060 w 2893168"/>
              <a:gd name="connsiteY3-56" fmla="*/ 2194560 h 2214880"/>
              <a:gd name="connsiteX4-57" fmla="*/ 0 w 2893168"/>
              <a:gd name="connsiteY4-58" fmla="*/ 2214880 h 2214880"/>
              <a:gd name="connsiteX5-59" fmla="*/ 0 w 2893168"/>
              <a:gd name="connsiteY5-60" fmla="*/ 2169160 h 2214880"/>
              <a:gd name="connsiteX0-61" fmla="*/ 0 w 2879375"/>
              <a:gd name="connsiteY0-62" fmla="*/ 2169160 h 2757268"/>
              <a:gd name="connsiteX1-63" fmla="*/ 0 w 2879375"/>
              <a:gd name="connsiteY1-64" fmla="*/ 817880 h 2757268"/>
              <a:gd name="connsiteX2-65" fmla="*/ 2877820 w 2879375"/>
              <a:gd name="connsiteY2-66" fmla="*/ 0 h 2757268"/>
              <a:gd name="connsiteX3-67" fmla="*/ 2878992 w 2879375"/>
              <a:gd name="connsiteY3-68" fmla="*/ 2757268 h 2757268"/>
              <a:gd name="connsiteX4-69" fmla="*/ 0 w 2879375"/>
              <a:gd name="connsiteY4-70" fmla="*/ 2214880 h 2757268"/>
              <a:gd name="connsiteX5-71" fmla="*/ 0 w 2879375"/>
              <a:gd name="connsiteY5-72" fmla="*/ 2169160 h 2757268"/>
              <a:gd name="connsiteX0-73" fmla="*/ 24713 w 2904088"/>
              <a:gd name="connsiteY0-74" fmla="*/ 2169160 h 2770934"/>
              <a:gd name="connsiteX1-75" fmla="*/ 24713 w 2904088"/>
              <a:gd name="connsiteY1-76" fmla="*/ 817880 h 2770934"/>
              <a:gd name="connsiteX2-77" fmla="*/ 2902533 w 2904088"/>
              <a:gd name="connsiteY2-78" fmla="*/ 0 h 2770934"/>
              <a:gd name="connsiteX3-79" fmla="*/ 2903705 w 2904088"/>
              <a:gd name="connsiteY3-80" fmla="*/ 2757268 h 2770934"/>
              <a:gd name="connsiteX4-81" fmla="*/ 0 w 2904088"/>
              <a:gd name="connsiteY4-82" fmla="*/ 2770934 h 2770934"/>
              <a:gd name="connsiteX5-83" fmla="*/ 24713 w 2904088"/>
              <a:gd name="connsiteY5-84" fmla="*/ 2169160 h 2770934"/>
              <a:gd name="connsiteX0-85" fmla="*/ 0 w 2879375"/>
              <a:gd name="connsiteY0-86" fmla="*/ 2169160 h 2985118"/>
              <a:gd name="connsiteX1-87" fmla="*/ 0 w 2879375"/>
              <a:gd name="connsiteY1-88" fmla="*/ 817880 h 2985118"/>
              <a:gd name="connsiteX2-89" fmla="*/ 2877820 w 2879375"/>
              <a:gd name="connsiteY2-90" fmla="*/ 0 h 2985118"/>
              <a:gd name="connsiteX3-91" fmla="*/ 2878992 w 2879375"/>
              <a:gd name="connsiteY3-92" fmla="*/ 2757268 h 2985118"/>
              <a:gd name="connsiteX4-93" fmla="*/ 8239 w 2879375"/>
              <a:gd name="connsiteY4-94" fmla="*/ 2985118 h 2985118"/>
              <a:gd name="connsiteX5-95" fmla="*/ 0 w 2879375"/>
              <a:gd name="connsiteY5-96" fmla="*/ 2169160 h 2985118"/>
              <a:gd name="connsiteX0-97" fmla="*/ 0 w 2879375"/>
              <a:gd name="connsiteY0-98" fmla="*/ 2169160 h 2985118"/>
              <a:gd name="connsiteX1-99" fmla="*/ 0 w 2879375"/>
              <a:gd name="connsiteY1-100" fmla="*/ 817880 h 2985118"/>
              <a:gd name="connsiteX2-101" fmla="*/ 2877820 w 2879375"/>
              <a:gd name="connsiteY2-102" fmla="*/ 0 h 2985118"/>
              <a:gd name="connsiteX3-103" fmla="*/ 2878992 w 2879375"/>
              <a:gd name="connsiteY3-104" fmla="*/ 2959095 h 2985118"/>
              <a:gd name="connsiteX4-105" fmla="*/ 8239 w 2879375"/>
              <a:gd name="connsiteY4-106" fmla="*/ 2985118 h 2985118"/>
              <a:gd name="connsiteX5-107" fmla="*/ 0 w 2879375"/>
              <a:gd name="connsiteY5-108" fmla="*/ 2169160 h 298511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17" name="Forma libre 16"/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033254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033254 h 5151120"/>
              <a:gd name="connsiteX0-13" fmla="*/ 26520 w 3600300"/>
              <a:gd name="connsiteY0-14" fmla="*/ 2033254 h 5151120"/>
              <a:gd name="connsiteX1-15" fmla="*/ 26520 w 3600300"/>
              <a:gd name="connsiteY1-16" fmla="*/ 1021080 h 5151120"/>
              <a:gd name="connsiteX2-17" fmla="*/ 3600300 w 3600300"/>
              <a:gd name="connsiteY2-18" fmla="*/ 0 h 5151120"/>
              <a:gd name="connsiteX3-19" fmla="*/ 3600300 w 3600300"/>
              <a:gd name="connsiteY3-20" fmla="*/ 5151120 h 5151120"/>
              <a:gd name="connsiteX4-21" fmla="*/ 0 w 3600300"/>
              <a:gd name="connsiteY4-22" fmla="*/ 1902452 h 5151120"/>
              <a:gd name="connsiteX5-23" fmla="*/ 26520 w 3600300"/>
              <a:gd name="connsiteY5-24" fmla="*/ 2033254 h 5151120"/>
              <a:gd name="connsiteX0-25" fmla="*/ 26520 w 3600300"/>
              <a:gd name="connsiteY0-26" fmla="*/ 2033254 h 2033254"/>
              <a:gd name="connsiteX1-27" fmla="*/ 26520 w 3600300"/>
              <a:gd name="connsiteY1-28" fmla="*/ 1021080 h 2033254"/>
              <a:gd name="connsiteX2-29" fmla="*/ 3600300 w 3600300"/>
              <a:gd name="connsiteY2-30" fmla="*/ 0 h 2033254"/>
              <a:gd name="connsiteX3-31" fmla="*/ 3555180 w 3600300"/>
              <a:gd name="connsiteY3-32" fmla="*/ 1902452 h 2033254"/>
              <a:gd name="connsiteX4-33" fmla="*/ 0 w 3600300"/>
              <a:gd name="connsiteY4-34" fmla="*/ 1902452 h 2033254"/>
              <a:gd name="connsiteX5-35" fmla="*/ 26520 w 3600300"/>
              <a:gd name="connsiteY5-36" fmla="*/ 2033254 h 2033254"/>
              <a:gd name="connsiteX0-37" fmla="*/ 26520 w 3607821"/>
              <a:gd name="connsiteY0-38" fmla="*/ 2033254 h 2033254"/>
              <a:gd name="connsiteX1-39" fmla="*/ 26520 w 3607821"/>
              <a:gd name="connsiteY1-40" fmla="*/ 1021080 h 2033254"/>
              <a:gd name="connsiteX2-41" fmla="*/ 3600300 w 3607821"/>
              <a:gd name="connsiteY2-42" fmla="*/ 0 h 2033254"/>
              <a:gd name="connsiteX3-43" fmla="*/ 3607821 w 3607821"/>
              <a:gd name="connsiteY3-44" fmla="*/ 1906212 h 2033254"/>
              <a:gd name="connsiteX4-45" fmla="*/ 0 w 3607821"/>
              <a:gd name="connsiteY4-46" fmla="*/ 1902452 h 2033254"/>
              <a:gd name="connsiteX5-47" fmla="*/ 26520 w 3607821"/>
              <a:gd name="connsiteY5-48" fmla="*/ 2033254 h 2033254"/>
              <a:gd name="connsiteX0-49" fmla="*/ 30280 w 3607821"/>
              <a:gd name="connsiteY0-50" fmla="*/ 1860293 h 1906212"/>
              <a:gd name="connsiteX1-51" fmla="*/ 26520 w 3607821"/>
              <a:gd name="connsiteY1-52" fmla="*/ 1021080 h 1906212"/>
              <a:gd name="connsiteX2-53" fmla="*/ 3600300 w 3607821"/>
              <a:gd name="connsiteY2-54" fmla="*/ 0 h 1906212"/>
              <a:gd name="connsiteX3-55" fmla="*/ 3607821 w 3607821"/>
              <a:gd name="connsiteY3-56" fmla="*/ 1906212 h 1906212"/>
              <a:gd name="connsiteX4-57" fmla="*/ 0 w 3607821"/>
              <a:gd name="connsiteY4-58" fmla="*/ 1902452 h 1906212"/>
              <a:gd name="connsiteX5-59" fmla="*/ 30280 w 3607821"/>
              <a:gd name="connsiteY5-60" fmla="*/ 1860293 h 1906212"/>
              <a:gd name="connsiteX0-61" fmla="*/ 3760 w 3581301"/>
              <a:gd name="connsiteY0-62" fmla="*/ 1860293 h 1909972"/>
              <a:gd name="connsiteX1-63" fmla="*/ 0 w 3581301"/>
              <a:gd name="connsiteY1-64" fmla="*/ 1021080 h 1909972"/>
              <a:gd name="connsiteX2-65" fmla="*/ 3573780 w 3581301"/>
              <a:gd name="connsiteY2-66" fmla="*/ 0 h 1909972"/>
              <a:gd name="connsiteX3-67" fmla="*/ 3581301 w 3581301"/>
              <a:gd name="connsiteY3-68" fmla="*/ 1906212 h 1909972"/>
              <a:gd name="connsiteX4-69" fmla="*/ 11080 w 3581301"/>
              <a:gd name="connsiteY4-70" fmla="*/ 1909972 h 1909972"/>
              <a:gd name="connsiteX5-71" fmla="*/ 3760 w 3581301"/>
              <a:gd name="connsiteY5-72" fmla="*/ 1860293 h 190997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 dirty="0"/>
          </a:p>
        </p:txBody>
      </p:sp>
      <p:sp>
        <p:nvSpPr>
          <p:cNvPr id="5" name="Forma libre 4"/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3" y="1592921"/>
            <a:ext cx="6818927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separata de nivel 2</a:t>
            </a:r>
            <a:endParaRPr lang="en-US" dirty="0"/>
          </a:p>
        </p:txBody>
      </p:sp>
      <p:sp>
        <p:nvSpPr>
          <p:cNvPr id="12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/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  <a:gd name="connsiteX0-37" fmla="*/ 0 w 3568703"/>
              <a:gd name="connsiteY0-38" fmla="*/ 2169160 h 2214880"/>
              <a:gd name="connsiteX1-39" fmla="*/ 0 w 3568703"/>
              <a:gd name="connsiteY1-40" fmla="*/ 817880 h 2214880"/>
              <a:gd name="connsiteX2-41" fmla="*/ 2877820 w 3568703"/>
              <a:gd name="connsiteY2-42" fmla="*/ 0 h 2214880"/>
              <a:gd name="connsiteX3-43" fmla="*/ 3568700 w 3568703"/>
              <a:gd name="connsiteY3-44" fmla="*/ 2189480 h 2214880"/>
              <a:gd name="connsiteX4-45" fmla="*/ 0 w 3568703"/>
              <a:gd name="connsiteY4-46" fmla="*/ 2214880 h 2214880"/>
              <a:gd name="connsiteX5-47" fmla="*/ 0 w 3568703"/>
              <a:gd name="connsiteY5-48" fmla="*/ 2169160 h 2214880"/>
              <a:gd name="connsiteX0-49" fmla="*/ 0 w 2893168"/>
              <a:gd name="connsiteY0-50" fmla="*/ 2169160 h 2214880"/>
              <a:gd name="connsiteX1-51" fmla="*/ 0 w 2893168"/>
              <a:gd name="connsiteY1-52" fmla="*/ 817880 h 2214880"/>
              <a:gd name="connsiteX2-53" fmla="*/ 2877820 w 2893168"/>
              <a:gd name="connsiteY2-54" fmla="*/ 0 h 2214880"/>
              <a:gd name="connsiteX3-55" fmla="*/ 2893060 w 2893168"/>
              <a:gd name="connsiteY3-56" fmla="*/ 2194560 h 2214880"/>
              <a:gd name="connsiteX4-57" fmla="*/ 0 w 2893168"/>
              <a:gd name="connsiteY4-58" fmla="*/ 2214880 h 2214880"/>
              <a:gd name="connsiteX5-59" fmla="*/ 0 w 2893168"/>
              <a:gd name="connsiteY5-60" fmla="*/ 2169160 h 2214880"/>
              <a:gd name="connsiteX0-61" fmla="*/ 0 w 2879375"/>
              <a:gd name="connsiteY0-62" fmla="*/ 2169160 h 2757268"/>
              <a:gd name="connsiteX1-63" fmla="*/ 0 w 2879375"/>
              <a:gd name="connsiteY1-64" fmla="*/ 817880 h 2757268"/>
              <a:gd name="connsiteX2-65" fmla="*/ 2877820 w 2879375"/>
              <a:gd name="connsiteY2-66" fmla="*/ 0 h 2757268"/>
              <a:gd name="connsiteX3-67" fmla="*/ 2878992 w 2879375"/>
              <a:gd name="connsiteY3-68" fmla="*/ 2757268 h 2757268"/>
              <a:gd name="connsiteX4-69" fmla="*/ 0 w 2879375"/>
              <a:gd name="connsiteY4-70" fmla="*/ 2214880 h 2757268"/>
              <a:gd name="connsiteX5-71" fmla="*/ 0 w 2879375"/>
              <a:gd name="connsiteY5-72" fmla="*/ 2169160 h 2757268"/>
              <a:gd name="connsiteX0-73" fmla="*/ 24713 w 2904088"/>
              <a:gd name="connsiteY0-74" fmla="*/ 2169160 h 2770934"/>
              <a:gd name="connsiteX1-75" fmla="*/ 24713 w 2904088"/>
              <a:gd name="connsiteY1-76" fmla="*/ 817880 h 2770934"/>
              <a:gd name="connsiteX2-77" fmla="*/ 2902533 w 2904088"/>
              <a:gd name="connsiteY2-78" fmla="*/ 0 h 2770934"/>
              <a:gd name="connsiteX3-79" fmla="*/ 2903705 w 2904088"/>
              <a:gd name="connsiteY3-80" fmla="*/ 2757268 h 2770934"/>
              <a:gd name="connsiteX4-81" fmla="*/ 0 w 2904088"/>
              <a:gd name="connsiteY4-82" fmla="*/ 2770934 h 2770934"/>
              <a:gd name="connsiteX5-83" fmla="*/ 24713 w 2904088"/>
              <a:gd name="connsiteY5-84" fmla="*/ 2169160 h 2770934"/>
              <a:gd name="connsiteX0-85" fmla="*/ 0 w 2879375"/>
              <a:gd name="connsiteY0-86" fmla="*/ 2169160 h 2985118"/>
              <a:gd name="connsiteX1-87" fmla="*/ 0 w 2879375"/>
              <a:gd name="connsiteY1-88" fmla="*/ 817880 h 2985118"/>
              <a:gd name="connsiteX2-89" fmla="*/ 2877820 w 2879375"/>
              <a:gd name="connsiteY2-90" fmla="*/ 0 h 2985118"/>
              <a:gd name="connsiteX3-91" fmla="*/ 2878992 w 2879375"/>
              <a:gd name="connsiteY3-92" fmla="*/ 2757268 h 2985118"/>
              <a:gd name="connsiteX4-93" fmla="*/ 8239 w 2879375"/>
              <a:gd name="connsiteY4-94" fmla="*/ 2985118 h 2985118"/>
              <a:gd name="connsiteX5-95" fmla="*/ 0 w 2879375"/>
              <a:gd name="connsiteY5-96" fmla="*/ 2169160 h 2985118"/>
              <a:gd name="connsiteX0-97" fmla="*/ 0 w 2879375"/>
              <a:gd name="connsiteY0-98" fmla="*/ 2169160 h 2985118"/>
              <a:gd name="connsiteX1-99" fmla="*/ 0 w 2879375"/>
              <a:gd name="connsiteY1-100" fmla="*/ 817880 h 2985118"/>
              <a:gd name="connsiteX2-101" fmla="*/ 2877820 w 2879375"/>
              <a:gd name="connsiteY2-102" fmla="*/ 0 h 2985118"/>
              <a:gd name="connsiteX3-103" fmla="*/ 2878992 w 2879375"/>
              <a:gd name="connsiteY3-104" fmla="*/ 2959095 h 2985118"/>
              <a:gd name="connsiteX4-105" fmla="*/ 8239 w 2879375"/>
              <a:gd name="connsiteY4-106" fmla="*/ 2985118 h 2985118"/>
              <a:gd name="connsiteX5-107" fmla="*/ 0 w 2879375"/>
              <a:gd name="connsiteY5-108" fmla="*/ 2169160 h 298511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17" name="Forma libre 16"/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033254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033254 h 5151120"/>
              <a:gd name="connsiteX0-13" fmla="*/ 26520 w 3600300"/>
              <a:gd name="connsiteY0-14" fmla="*/ 2033254 h 5151120"/>
              <a:gd name="connsiteX1-15" fmla="*/ 26520 w 3600300"/>
              <a:gd name="connsiteY1-16" fmla="*/ 1021080 h 5151120"/>
              <a:gd name="connsiteX2-17" fmla="*/ 3600300 w 3600300"/>
              <a:gd name="connsiteY2-18" fmla="*/ 0 h 5151120"/>
              <a:gd name="connsiteX3-19" fmla="*/ 3600300 w 3600300"/>
              <a:gd name="connsiteY3-20" fmla="*/ 5151120 h 5151120"/>
              <a:gd name="connsiteX4-21" fmla="*/ 0 w 3600300"/>
              <a:gd name="connsiteY4-22" fmla="*/ 1902452 h 5151120"/>
              <a:gd name="connsiteX5-23" fmla="*/ 26520 w 3600300"/>
              <a:gd name="connsiteY5-24" fmla="*/ 2033254 h 5151120"/>
              <a:gd name="connsiteX0-25" fmla="*/ 26520 w 3600300"/>
              <a:gd name="connsiteY0-26" fmla="*/ 2033254 h 2033254"/>
              <a:gd name="connsiteX1-27" fmla="*/ 26520 w 3600300"/>
              <a:gd name="connsiteY1-28" fmla="*/ 1021080 h 2033254"/>
              <a:gd name="connsiteX2-29" fmla="*/ 3600300 w 3600300"/>
              <a:gd name="connsiteY2-30" fmla="*/ 0 h 2033254"/>
              <a:gd name="connsiteX3-31" fmla="*/ 3555180 w 3600300"/>
              <a:gd name="connsiteY3-32" fmla="*/ 1902452 h 2033254"/>
              <a:gd name="connsiteX4-33" fmla="*/ 0 w 3600300"/>
              <a:gd name="connsiteY4-34" fmla="*/ 1902452 h 2033254"/>
              <a:gd name="connsiteX5-35" fmla="*/ 26520 w 3600300"/>
              <a:gd name="connsiteY5-36" fmla="*/ 2033254 h 2033254"/>
              <a:gd name="connsiteX0-37" fmla="*/ 26520 w 3607821"/>
              <a:gd name="connsiteY0-38" fmla="*/ 2033254 h 2033254"/>
              <a:gd name="connsiteX1-39" fmla="*/ 26520 w 3607821"/>
              <a:gd name="connsiteY1-40" fmla="*/ 1021080 h 2033254"/>
              <a:gd name="connsiteX2-41" fmla="*/ 3600300 w 3607821"/>
              <a:gd name="connsiteY2-42" fmla="*/ 0 h 2033254"/>
              <a:gd name="connsiteX3-43" fmla="*/ 3607821 w 3607821"/>
              <a:gd name="connsiteY3-44" fmla="*/ 1906212 h 2033254"/>
              <a:gd name="connsiteX4-45" fmla="*/ 0 w 3607821"/>
              <a:gd name="connsiteY4-46" fmla="*/ 1902452 h 2033254"/>
              <a:gd name="connsiteX5-47" fmla="*/ 26520 w 3607821"/>
              <a:gd name="connsiteY5-48" fmla="*/ 2033254 h 2033254"/>
              <a:gd name="connsiteX0-49" fmla="*/ 30280 w 3607821"/>
              <a:gd name="connsiteY0-50" fmla="*/ 1860293 h 1906212"/>
              <a:gd name="connsiteX1-51" fmla="*/ 26520 w 3607821"/>
              <a:gd name="connsiteY1-52" fmla="*/ 1021080 h 1906212"/>
              <a:gd name="connsiteX2-53" fmla="*/ 3600300 w 3607821"/>
              <a:gd name="connsiteY2-54" fmla="*/ 0 h 1906212"/>
              <a:gd name="connsiteX3-55" fmla="*/ 3607821 w 3607821"/>
              <a:gd name="connsiteY3-56" fmla="*/ 1906212 h 1906212"/>
              <a:gd name="connsiteX4-57" fmla="*/ 0 w 3607821"/>
              <a:gd name="connsiteY4-58" fmla="*/ 1902452 h 1906212"/>
              <a:gd name="connsiteX5-59" fmla="*/ 30280 w 3607821"/>
              <a:gd name="connsiteY5-60" fmla="*/ 1860293 h 1906212"/>
              <a:gd name="connsiteX0-61" fmla="*/ 3760 w 3581301"/>
              <a:gd name="connsiteY0-62" fmla="*/ 1860293 h 1909972"/>
              <a:gd name="connsiteX1-63" fmla="*/ 0 w 3581301"/>
              <a:gd name="connsiteY1-64" fmla="*/ 1021080 h 1909972"/>
              <a:gd name="connsiteX2-65" fmla="*/ 3573780 w 3581301"/>
              <a:gd name="connsiteY2-66" fmla="*/ 0 h 1909972"/>
              <a:gd name="connsiteX3-67" fmla="*/ 3581301 w 3581301"/>
              <a:gd name="connsiteY3-68" fmla="*/ 1906212 h 1909972"/>
              <a:gd name="connsiteX4-69" fmla="*/ 11080 w 3581301"/>
              <a:gd name="connsiteY4-70" fmla="*/ 1909972 h 1909972"/>
              <a:gd name="connsiteX5-71" fmla="*/ 3760 w 3581301"/>
              <a:gd name="connsiteY5-72" fmla="*/ 1860293 h 190997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 dirty="0"/>
          </a:p>
        </p:txBody>
      </p:sp>
      <p:sp>
        <p:nvSpPr>
          <p:cNvPr id="5" name="Forma libre 4"/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/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  <a:gd name="connsiteX0-37" fmla="*/ 0 w 3568703"/>
              <a:gd name="connsiteY0-38" fmla="*/ 2169160 h 2214880"/>
              <a:gd name="connsiteX1-39" fmla="*/ 0 w 3568703"/>
              <a:gd name="connsiteY1-40" fmla="*/ 817880 h 2214880"/>
              <a:gd name="connsiteX2-41" fmla="*/ 2877820 w 3568703"/>
              <a:gd name="connsiteY2-42" fmla="*/ 0 h 2214880"/>
              <a:gd name="connsiteX3-43" fmla="*/ 3568700 w 3568703"/>
              <a:gd name="connsiteY3-44" fmla="*/ 2189480 h 2214880"/>
              <a:gd name="connsiteX4-45" fmla="*/ 0 w 3568703"/>
              <a:gd name="connsiteY4-46" fmla="*/ 2214880 h 2214880"/>
              <a:gd name="connsiteX5-47" fmla="*/ 0 w 3568703"/>
              <a:gd name="connsiteY5-48" fmla="*/ 2169160 h 2214880"/>
              <a:gd name="connsiteX0-49" fmla="*/ 0 w 2893168"/>
              <a:gd name="connsiteY0-50" fmla="*/ 2169160 h 2214880"/>
              <a:gd name="connsiteX1-51" fmla="*/ 0 w 2893168"/>
              <a:gd name="connsiteY1-52" fmla="*/ 817880 h 2214880"/>
              <a:gd name="connsiteX2-53" fmla="*/ 2877820 w 2893168"/>
              <a:gd name="connsiteY2-54" fmla="*/ 0 h 2214880"/>
              <a:gd name="connsiteX3-55" fmla="*/ 2893060 w 2893168"/>
              <a:gd name="connsiteY3-56" fmla="*/ 2194560 h 2214880"/>
              <a:gd name="connsiteX4-57" fmla="*/ 0 w 2893168"/>
              <a:gd name="connsiteY4-58" fmla="*/ 2214880 h 2214880"/>
              <a:gd name="connsiteX5-59" fmla="*/ 0 w 2893168"/>
              <a:gd name="connsiteY5-60" fmla="*/ 2169160 h 2214880"/>
              <a:gd name="connsiteX0-61" fmla="*/ 0 w 2879375"/>
              <a:gd name="connsiteY0-62" fmla="*/ 2169160 h 2757268"/>
              <a:gd name="connsiteX1-63" fmla="*/ 0 w 2879375"/>
              <a:gd name="connsiteY1-64" fmla="*/ 817880 h 2757268"/>
              <a:gd name="connsiteX2-65" fmla="*/ 2877820 w 2879375"/>
              <a:gd name="connsiteY2-66" fmla="*/ 0 h 2757268"/>
              <a:gd name="connsiteX3-67" fmla="*/ 2878992 w 2879375"/>
              <a:gd name="connsiteY3-68" fmla="*/ 2757268 h 2757268"/>
              <a:gd name="connsiteX4-69" fmla="*/ 0 w 2879375"/>
              <a:gd name="connsiteY4-70" fmla="*/ 2214880 h 2757268"/>
              <a:gd name="connsiteX5-71" fmla="*/ 0 w 2879375"/>
              <a:gd name="connsiteY5-72" fmla="*/ 2169160 h 2757268"/>
              <a:gd name="connsiteX0-73" fmla="*/ 24713 w 2904088"/>
              <a:gd name="connsiteY0-74" fmla="*/ 2169160 h 2770934"/>
              <a:gd name="connsiteX1-75" fmla="*/ 24713 w 2904088"/>
              <a:gd name="connsiteY1-76" fmla="*/ 817880 h 2770934"/>
              <a:gd name="connsiteX2-77" fmla="*/ 2902533 w 2904088"/>
              <a:gd name="connsiteY2-78" fmla="*/ 0 h 2770934"/>
              <a:gd name="connsiteX3-79" fmla="*/ 2903705 w 2904088"/>
              <a:gd name="connsiteY3-80" fmla="*/ 2757268 h 2770934"/>
              <a:gd name="connsiteX4-81" fmla="*/ 0 w 2904088"/>
              <a:gd name="connsiteY4-82" fmla="*/ 2770934 h 2770934"/>
              <a:gd name="connsiteX5-83" fmla="*/ 24713 w 2904088"/>
              <a:gd name="connsiteY5-84" fmla="*/ 2169160 h 2770934"/>
              <a:gd name="connsiteX0-85" fmla="*/ 0 w 2879375"/>
              <a:gd name="connsiteY0-86" fmla="*/ 2169160 h 2985118"/>
              <a:gd name="connsiteX1-87" fmla="*/ 0 w 2879375"/>
              <a:gd name="connsiteY1-88" fmla="*/ 817880 h 2985118"/>
              <a:gd name="connsiteX2-89" fmla="*/ 2877820 w 2879375"/>
              <a:gd name="connsiteY2-90" fmla="*/ 0 h 2985118"/>
              <a:gd name="connsiteX3-91" fmla="*/ 2878992 w 2879375"/>
              <a:gd name="connsiteY3-92" fmla="*/ 2757268 h 2985118"/>
              <a:gd name="connsiteX4-93" fmla="*/ 8239 w 2879375"/>
              <a:gd name="connsiteY4-94" fmla="*/ 2985118 h 2985118"/>
              <a:gd name="connsiteX5-95" fmla="*/ 0 w 2879375"/>
              <a:gd name="connsiteY5-96" fmla="*/ 2169160 h 2985118"/>
              <a:gd name="connsiteX0-97" fmla="*/ 0 w 2879375"/>
              <a:gd name="connsiteY0-98" fmla="*/ 2169160 h 2985118"/>
              <a:gd name="connsiteX1-99" fmla="*/ 0 w 2879375"/>
              <a:gd name="connsiteY1-100" fmla="*/ 817880 h 2985118"/>
              <a:gd name="connsiteX2-101" fmla="*/ 2877820 w 2879375"/>
              <a:gd name="connsiteY2-102" fmla="*/ 0 h 2985118"/>
              <a:gd name="connsiteX3-103" fmla="*/ 2878992 w 2879375"/>
              <a:gd name="connsiteY3-104" fmla="*/ 2959095 h 2985118"/>
              <a:gd name="connsiteX4-105" fmla="*/ 8239 w 2879375"/>
              <a:gd name="connsiteY4-106" fmla="*/ 2985118 h 2985118"/>
              <a:gd name="connsiteX5-107" fmla="*/ 0 w 2879375"/>
              <a:gd name="connsiteY5-108" fmla="*/ 2169160 h 298511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17" name="Forma libre 16"/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033254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033254 h 5151120"/>
              <a:gd name="connsiteX0-13" fmla="*/ 26520 w 3600300"/>
              <a:gd name="connsiteY0-14" fmla="*/ 2033254 h 5151120"/>
              <a:gd name="connsiteX1-15" fmla="*/ 26520 w 3600300"/>
              <a:gd name="connsiteY1-16" fmla="*/ 1021080 h 5151120"/>
              <a:gd name="connsiteX2-17" fmla="*/ 3600300 w 3600300"/>
              <a:gd name="connsiteY2-18" fmla="*/ 0 h 5151120"/>
              <a:gd name="connsiteX3-19" fmla="*/ 3600300 w 3600300"/>
              <a:gd name="connsiteY3-20" fmla="*/ 5151120 h 5151120"/>
              <a:gd name="connsiteX4-21" fmla="*/ 0 w 3600300"/>
              <a:gd name="connsiteY4-22" fmla="*/ 1902452 h 5151120"/>
              <a:gd name="connsiteX5-23" fmla="*/ 26520 w 3600300"/>
              <a:gd name="connsiteY5-24" fmla="*/ 2033254 h 5151120"/>
              <a:gd name="connsiteX0-25" fmla="*/ 26520 w 3600300"/>
              <a:gd name="connsiteY0-26" fmla="*/ 2033254 h 2033254"/>
              <a:gd name="connsiteX1-27" fmla="*/ 26520 w 3600300"/>
              <a:gd name="connsiteY1-28" fmla="*/ 1021080 h 2033254"/>
              <a:gd name="connsiteX2-29" fmla="*/ 3600300 w 3600300"/>
              <a:gd name="connsiteY2-30" fmla="*/ 0 h 2033254"/>
              <a:gd name="connsiteX3-31" fmla="*/ 3555180 w 3600300"/>
              <a:gd name="connsiteY3-32" fmla="*/ 1902452 h 2033254"/>
              <a:gd name="connsiteX4-33" fmla="*/ 0 w 3600300"/>
              <a:gd name="connsiteY4-34" fmla="*/ 1902452 h 2033254"/>
              <a:gd name="connsiteX5-35" fmla="*/ 26520 w 3600300"/>
              <a:gd name="connsiteY5-36" fmla="*/ 2033254 h 2033254"/>
              <a:gd name="connsiteX0-37" fmla="*/ 26520 w 3607821"/>
              <a:gd name="connsiteY0-38" fmla="*/ 2033254 h 2033254"/>
              <a:gd name="connsiteX1-39" fmla="*/ 26520 w 3607821"/>
              <a:gd name="connsiteY1-40" fmla="*/ 1021080 h 2033254"/>
              <a:gd name="connsiteX2-41" fmla="*/ 3600300 w 3607821"/>
              <a:gd name="connsiteY2-42" fmla="*/ 0 h 2033254"/>
              <a:gd name="connsiteX3-43" fmla="*/ 3607821 w 3607821"/>
              <a:gd name="connsiteY3-44" fmla="*/ 1906212 h 2033254"/>
              <a:gd name="connsiteX4-45" fmla="*/ 0 w 3607821"/>
              <a:gd name="connsiteY4-46" fmla="*/ 1902452 h 2033254"/>
              <a:gd name="connsiteX5-47" fmla="*/ 26520 w 3607821"/>
              <a:gd name="connsiteY5-48" fmla="*/ 2033254 h 2033254"/>
              <a:gd name="connsiteX0-49" fmla="*/ 30280 w 3607821"/>
              <a:gd name="connsiteY0-50" fmla="*/ 1860293 h 1906212"/>
              <a:gd name="connsiteX1-51" fmla="*/ 26520 w 3607821"/>
              <a:gd name="connsiteY1-52" fmla="*/ 1021080 h 1906212"/>
              <a:gd name="connsiteX2-53" fmla="*/ 3600300 w 3607821"/>
              <a:gd name="connsiteY2-54" fmla="*/ 0 h 1906212"/>
              <a:gd name="connsiteX3-55" fmla="*/ 3607821 w 3607821"/>
              <a:gd name="connsiteY3-56" fmla="*/ 1906212 h 1906212"/>
              <a:gd name="connsiteX4-57" fmla="*/ 0 w 3607821"/>
              <a:gd name="connsiteY4-58" fmla="*/ 1902452 h 1906212"/>
              <a:gd name="connsiteX5-59" fmla="*/ 30280 w 3607821"/>
              <a:gd name="connsiteY5-60" fmla="*/ 1860293 h 1906212"/>
              <a:gd name="connsiteX0-61" fmla="*/ 3760 w 3581301"/>
              <a:gd name="connsiteY0-62" fmla="*/ 1860293 h 1909972"/>
              <a:gd name="connsiteX1-63" fmla="*/ 0 w 3581301"/>
              <a:gd name="connsiteY1-64" fmla="*/ 1021080 h 1909972"/>
              <a:gd name="connsiteX2-65" fmla="*/ 3573780 w 3581301"/>
              <a:gd name="connsiteY2-66" fmla="*/ 0 h 1909972"/>
              <a:gd name="connsiteX3-67" fmla="*/ 3581301 w 3581301"/>
              <a:gd name="connsiteY3-68" fmla="*/ 1906212 h 1909972"/>
              <a:gd name="connsiteX4-69" fmla="*/ 11080 w 3581301"/>
              <a:gd name="connsiteY4-70" fmla="*/ 1909972 h 1909972"/>
              <a:gd name="connsiteX5-71" fmla="*/ 3760 w 3581301"/>
              <a:gd name="connsiteY5-72" fmla="*/ 1860293 h 190997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 dirty="0"/>
          </a:p>
        </p:txBody>
      </p:sp>
      <p:sp>
        <p:nvSpPr>
          <p:cNvPr id="5" name="Forma libre 4"/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/>
              <a:t>Haga clic en el icono para agregar una imagen</a:t>
            </a:r>
            <a:endParaRPr lang="es-ES" dirty="0"/>
          </a:p>
        </p:txBody>
      </p:sp>
      <p:sp>
        <p:nvSpPr>
          <p:cNvPr id="10" name="Marcador de contenido 10"/>
          <p:cNvSpPr>
            <a:spLocks noGrp="1"/>
          </p:cNvSpPr>
          <p:nvPr>
            <p:ph sz="quarter" idx="10" hasCustomPrompt="1"/>
          </p:nvPr>
        </p:nvSpPr>
        <p:spPr>
          <a:xfrm>
            <a:off x="336001" y="3311240"/>
            <a:ext cx="4842163" cy="2480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5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6" name="Marcador de contenido 10"/>
          <p:cNvSpPr>
            <a:spLocks noGrp="1"/>
          </p:cNvSpPr>
          <p:nvPr>
            <p:ph sz="quarter" idx="12" hasCustomPrompt="1"/>
          </p:nvPr>
        </p:nvSpPr>
        <p:spPr>
          <a:xfrm>
            <a:off x="336002" y="3743044"/>
            <a:ext cx="3725333" cy="15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335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sz="quarter" idx="13" hasCustomPrompt="1"/>
          </p:nvPr>
        </p:nvSpPr>
        <p:spPr>
          <a:xfrm>
            <a:off x="336000" y="382577"/>
            <a:ext cx="1799167" cy="63923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49675" y="1421649"/>
            <a:ext cx="7563994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533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/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  <a:gd name="connsiteX0-37" fmla="*/ 0 w 3568703"/>
              <a:gd name="connsiteY0-38" fmla="*/ 2169160 h 2214880"/>
              <a:gd name="connsiteX1-39" fmla="*/ 0 w 3568703"/>
              <a:gd name="connsiteY1-40" fmla="*/ 817880 h 2214880"/>
              <a:gd name="connsiteX2-41" fmla="*/ 2877820 w 3568703"/>
              <a:gd name="connsiteY2-42" fmla="*/ 0 h 2214880"/>
              <a:gd name="connsiteX3-43" fmla="*/ 3568700 w 3568703"/>
              <a:gd name="connsiteY3-44" fmla="*/ 2189480 h 2214880"/>
              <a:gd name="connsiteX4-45" fmla="*/ 0 w 3568703"/>
              <a:gd name="connsiteY4-46" fmla="*/ 2214880 h 2214880"/>
              <a:gd name="connsiteX5-47" fmla="*/ 0 w 3568703"/>
              <a:gd name="connsiteY5-48" fmla="*/ 2169160 h 2214880"/>
              <a:gd name="connsiteX0-49" fmla="*/ 0 w 2893168"/>
              <a:gd name="connsiteY0-50" fmla="*/ 2169160 h 2214880"/>
              <a:gd name="connsiteX1-51" fmla="*/ 0 w 2893168"/>
              <a:gd name="connsiteY1-52" fmla="*/ 817880 h 2214880"/>
              <a:gd name="connsiteX2-53" fmla="*/ 2877820 w 2893168"/>
              <a:gd name="connsiteY2-54" fmla="*/ 0 h 2214880"/>
              <a:gd name="connsiteX3-55" fmla="*/ 2893060 w 2893168"/>
              <a:gd name="connsiteY3-56" fmla="*/ 2194560 h 2214880"/>
              <a:gd name="connsiteX4-57" fmla="*/ 0 w 2893168"/>
              <a:gd name="connsiteY4-58" fmla="*/ 2214880 h 2214880"/>
              <a:gd name="connsiteX5-59" fmla="*/ 0 w 2893168"/>
              <a:gd name="connsiteY5-60" fmla="*/ 2169160 h 2214880"/>
              <a:gd name="connsiteX0-61" fmla="*/ 0 w 2879375"/>
              <a:gd name="connsiteY0-62" fmla="*/ 2169160 h 2757268"/>
              <a:gd name="connsiteX1-63" fmla="*/ 0 w 2879375"/>
              <a:gd name="connsiteY1-64" fmla="*/ 817880 h 2757268"/>
              <a:gd name="connsiteX2-65" fmla="*/ 2877820 w 2879375"/>
              <a:gd name="connsiteY2-66" fmla="*/ 0 h 2757268"/>
              <a:gd name="connsiteX3-67" fmla="*/ 2878992 w 2879375"/>
              <a:gd name="connsiteY3-68" fmla="*/ 2757268 h 2757268"/>
              <a:gd name="connsiteX4-69" fmla="*/ 0 w 2879375"/>
              <a:gd name="connsiteY4-70" fmla="*/ 2214880 h 2757268"/>
              <a:gd name="connsiteX5-71" fmla="*/ 0 w 2879375"/>
              <a:gd name="connsiteY5-72" fmla="*/ 2169160 h 2757268"/>
              <a:gd name="connsiteX0-73" fmla="*/ 24713 w 2904088"/>
              <a:gd name="connsiteY0-74" fmla="*/ 2169160 h 2770934"/>
              <a:gd name="connsiteX1-75" fmla="*/ 24713 w 2904088"/>
              <a:gd name="connsiteY1-76" fmla="*/ 817880 h 2770934"/>
              <a:gd name="connsiteX2-77" fmla="*/ 2902533 w 2904088"/>
              <a:gd name="connsiteY2-78" fmla="*/ 0 h 2770934"/>
              <a:gd name="connsiteX3-79" fmla="*/ 2903705 w 2904088"/>
              <a:gd name="connsiteY3-80" fmla="*/ 2757268 h 2770934"/>
              <a:gd name="connsiteX4-81" fmla="*/ 0 w 2904088"/>
              <a:gd name="connsiteY4-82" fmla="*/ 2770934 h 2770934"/>
              <a:gd name="connsiteX5-83" fmla="*/ 24713 w 2904088"/>
              <a:gd name="connsiteY5-84" fmla="*/ 2169160 h 2770934"/>
              <a:gd name="connsiteX0-85" fmla="*/ 0 w 2879375"/>
              <a:gd name="connsiteY0-86" fmla="*/ 2169160 h 2985118"/>
              <a:gd name="connsiteX1-87" fmla="*/ 0 w 2879375"/>
              <a:gd name="connsiteY1-88" fmla="*/ 817880 h 2985118"/>
              <a:gd name="connsiteX2-89" fmla="*/ 2877820 w 2879375"/>
              <a:gd name="connsiteY2-90" fmla="*/ 0 h 2985118"/>
              <a:gd name="connsiteX3-91" fmla="*/ 2878992 w 2879375"/>
              <a:gd name="connsiteY3-92" fmla="*/ 2757268 h 2985118"/>
              <a:gd name="connsiteX4-93" fmla="*/ 8239 w 2879375"/>
              <a:gd name="connsiteY4-94" fmla="*/ 2985118 h 2985118"/>
              <a:gd name="connsiteX5-95" fmla="*/ 0 w 2879375"/>
              <a:gd name="connsiteY5-96" fmla="*/ 2169160 h 2985118"/>
              <a:gd name="connsiteX0-97" fmla="*/ 0 w 2879375"/>
              <a:gd name="connsiteY0-98" fmla="*/ 2169160 h 2985118"/>
              <a:gd name="connsiteX1-99" fmla="*/ 0 w 2879375"/>
              <a:gd name="connsiteY1-100" fmla="*/ 817880 h 2985118"/>
              <a:gd name="connsiteX2-101" fmla="*/ 2877820 w 2879375"/>
              <a:gd name="connsiteY2-102" fmla="*/ 0 h 2985118"/>
              <a:gd name="connsiteX3-103" fmla="*/ 2878992 w 2879375"/>
              <a:gd name="connsiteY3-104" fmla="*/ 2959095 h 2985118"/>
              <a:gd name="connsiteX4-105" fmla="*/ 8239 w 2879375"/>
              <a:gd name="connsiteY4-106" fmla="*/ 2985118 h 2985118"/>
              <a:gd name="connsiteX5-107" fmla="*/ 0 w 2879375"/>
              <a:gd name="connsiteY5-108" fmla="*/ 2169160 h 298511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17" name="Forma libre 16"/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033254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033254 h 5151120"/>
              <a:gd name="connsiteX0-13" fmla="*/ 26520 w 3600300"/>
              <a:gd name="connsiteY0-14" fmla="*/ 2033254 h 5151120"/>
              <a:gd name="connsiteX1-15" fmla="*/ 26520 w 3600300"/>
              <a:gd name="connsiteY1-16" fmla="*/ 1021080 h 5151120"/>
              <a:gd name="connsiteX2-17" fmla="*/ 3600300 w 3600300"/>
              <a:gd name="connsiteY2-18" fmla="*/ 0 h 5151120"/>
              <a:gd name="connsiteX3-19" fmla="*/ 3600300 w 3600300"/>
              <a:gd name="connsiteY3-20" fmla="*/ 5151120 h 5151120"/>
              <a:gd name="connsiteX4-21" fmla="*/ 0 w 3600300"/>
              <a:gd name="connsiteY4-22" fmla="*/ 1902452 h 5151120"/>
              <a:gd name="connsiteX5-23" fmla="*/ 26520 w 3600300"/>
              <a:gd name="connsiteY5-24" fmla="*/ 2033254 h 5151120"/>
              <a:gd name="connsiteX0-25" fmla="*/ 26520 w 3600300"/>
              <a:gd name="connsiteY0-26" fmla="*/ 2033254 h 2033254"/>
              <a:gd name="connsiteX1-27" fmla="*/ 26520 w 3600300"/>
              <a:gd name="connsiteY1-28" fmla="*/ 1021080 h 2033254"/>
              <a:gd name="connsiteX2-29" fmla="*/ 3600300 w 3600300"/>
              <a:gd name="connsiteY2-30" fmla="*/ 0 h 2033254"/>
              <a:gd name="connsiteX3-31" fmla="*/ 3555180 w 3600300"/>
              <a:gd name="connsiteY3-32" fmla="*/ 1902452 h 2033254"/>
              <a:gd name="connsiteX4-33" fmla="*/ 0 w 3600300"/>
              <a:gd name="connsiteY4-34" fmla="*/ 1902452 h 2033254"/>
              <a:gd name="connsiteX5-35" fmla="*/ 26520 w 3600300"/>
              <a:gd name="connsiteY5-36" fmla="*/ 2033254 h 2033254"/>
              <a:gd name="connsiteX0-37" fmla="*/ 26520 w 3607821"/>
              <a:gd name="connsiteY0-38" fmla="*/ 2033254 h 2033254"/>
              <a:gd name="connsiteX1-39" fmla="*/ 26520 w 3607821"/>
              <a:gd name="connsiteY1-40" fmla="*/ 1021080 h 2033254"/>
              <a:gd name="connsiteX2-41" fmla="*/ 3600300 w 3607821"/>
              <a:gd name="connsiteY2-42" fmla="*/ 0 h 2033254"/>
              <a:gd name="connsiteX3-43" fmla="*/ 3607821 w 3607821"/>
              <a:gd name="connsiteY3-44" fmla="*/ 1906212 h 2033254"/>
              <a:gd name="connsiteX4-45" fmla="*/ 0 w 3607821"/>
              <a:gd name="connsiteY4-46" fmla="*/ 1902452 h 2033254"/>
              <a:gd name="connsiteX5-47" fmla="*/ 26520 w 3607821"/>
              <a:gd name="connsiteY5-48" fmla="*/ 2033254 h 2033254"/>
              <a:gd name="connsiteX0-49" fmla="*/ 30280 w 3607821"/>
              <a:gd name="connsiteY0-50" fmla="*/ 1860293 h 1906212"/>
              <a:gd name="connsiteX1-51" fmla="*/ 26520 w 3607821"/>
              <a:gd name="connsiteY1-52" fmla="*/ 1021080 h 1906212"/>
              <a:gd name="connsiteX2-53" fmla="*/ 3600300 w 3607821"/>
              <a:gd name="connsiteY2-54" fmla="*/ 0 h 1906212"/>
              <a:gd name="connsiteX3-55" fmla="*/ 3607821 w 3607821"/>
              <a:gd name="connsiteY3-56" fmla="*/ 1906212 h 1906212"/>
              <a:gd name="connsiteX4-57" fmla="*/ 0 w 3607821"/>
              <a:gd name="connsiteY4-58" fmla="*/ 1902452 h 1906212"/>
              <a:gd name="connsiteX5-59" fmla="*/ 30280 w 3607821"/>
              <a:gd name="connsiteY5-60" fmla="*/ 1860293 h 1906212"/>
              <a:gd name="connsiteX0-61" fmla="*/ 3760 w 3581301"/>
              <a:gd name="connsiteY0-62" fmla="*/ 1860293 h 1909972"/>
              <a:gd name="connsiteX1-63" fmla="*/ 0 w 3581301"/>
              <a:gd name="connsiteY1-64" fmla="*/ 1021080 h 1909972"/>
              <a:gd name="connsiteX2-65" fmla="*/ 3573780 w 3581301"/>
              <a:gd name="connsiteY2-66" fmla="*/ 0 h 1909972"/>
              <a:gd name="connsiteX3-67" fmla="*/ 3581301 w 3581301"/>
              <a:gd name="connsiteY3-68" fmla="*/ 1906212 h 1909972"/>
              <a:gd name="connsiteX4-69" fmla="*/ 11080 w 3581301"/>
              <a:gd name="connsiteY4-70" fmla="*/ 1909972 h 1909972"/>
              <a:gd name="connsiteX5-71" fmla="*/ 3760 w 3581301"/>
              <a:gd name="connsiteY5-72" fmla="*/ 1860293 h 190997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 dirty="0"/>
          </a:p>
        </p:txBody>
      </p:sp>
      <p:sp>
        <p:nvSpPr>
          <p:cNvPr id="5" name="Forma libre 4"/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/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  <a:gd name="connsiteX0-37" fmla="*/ 0 w 3568703"/>
              <a:gd name="connsiteY0-38" fmla="*/ 2169160 h 2214880"/>
              <a:gd name="connsiteX1-39" fmla="*/ 0 w 3568703"/>
              <a:gd name="connsiteY1-40" fmla="*/ 817880 h 2214880"/>
              <a:gd name="connsiteX2-41" fmla="*/ 2877820 w 3568703"/>
              <a:gd name="connsiteY2-42" fmla="*/ 0 h 2214880"/>
              <a:gd name="connsiteX3-43" fmla="*/ 3568700 w 3568703"/>
              <a:gd name="connsiteY3-44" fmla="*/ 2189480 h 2214880"/>
              <a:gd name="connsiteX4-45" fmla="*/ 0 w 3568703"/>
              <a:gd name="connsiteY4-46" fmla="*/ 2214880 h 2214880"/>
              <a:gd name="connsiteX5-47" fmla="*/ 0 w 3568703"/>
              <a:gd name="connsiteY5-48" fmla="*/ 2169160 h 2214880"/>
              <a:gd name="connsiteX0-49" fmla="*/ 0 w 2893168"/>
              <a:gd name="connsiteY0-50" fmla="*/ 2169160 h 2214880"/>
              <a:gd name="connsiteX1-51" fmla="*/ 0 w 2893168"/>
              <a:gd name="connsiteY1-52" fmla="*/ 817880 h 2214880"/>
              <a:gd name="connsiteX2-53" fmla="*/ 2877820 w 2893168"/>
              <a:gd name="connsiteY2-54" fmla="*/ 0 h 2214880"/>
              <a:gd name="connsiteX3-55" fmla="*/ 2893060 w 2893168"/>
              <a:gd name="connsiteY3-56" fmla="*/ 2194560 h 2214880"/>
              <a:gd name="connsiteX4-57" fmla="*/ 0 w 2893168"/>
              <a:gd name="connsiteY4-58" fmla="*/ 2214880 h 2214880"/>
              <a:gd name="connsiteX5-59" fmla="*/ 0 w 2893168"/>
              <a:gd name="connsiteY5-60" fmla="*/ 2169160 h 2214880"/>
              <a:gd name="connsiteX0-61" fmla="*/ 0 w 2879375"/>
              <a:gd name="connsiteY0-62" fmla="*/ 2169160 h 2757268"/>
              <a:gd name="connsiteX1-63" fmla="*/ 0 w 2879375"/>
              <a:gd name="connsiteY1-64" fmla="*/ 817880 h 2757268"/>
              <a:gd name="connsiteX2-65" fmla="*/ 2877820 w 2879375"/>
              <a:gd name="connsiteY2-66" fmla="*/ 0 h 2757268"/>
              <a:gd name="connsiteX3-67" fmla="*/ 2878992 w 2879375"/>
              <a:gd name="connsiteY3-68" fmla="*/ 2757268 h 2757268"/>
              <a:gd name="connsiteX4-69" fmla="*/ 0 w 2879375"/>
              <a:gd name="connsiteY4-70" fmla="*/ 2214880 h 2757268"/>
              <a:gd name="connsiteX5-71" fmla="*/ 0 w 2879375"/>
              <a:gd name="connsiteY5-72" fmla="*/ 2169160 h 2757268"/>
              <a:gd name="connsiteX0-73" fmla="*/ 24713 w 2904088"/>
              <a:gd name="connsiteY0-74" fmla="*/ 2169160 h 2770934"/>
              <a:gd name="connsiteX1-75" fmla="*/ 24713 w 2904088"/>
              <a:gd name="connsiteY1-76" fmla="*/ 817880 h 2770934"/>
              <a:gd name="connsiteX2-77" fmla="*/ 2902533 w 2904088"/>
              <a:gd name="connsiteY2-78" fmla="*/ 0 h 2770934"/>
              <a:gd name="connsiteX3-79" fmla="*/ 2903705 w 2904088"/>
              <a:gd name="connsiteY3-80" fmla="*/ 2757268 h 2770934"/>
              <a:gd name="connsiteX4-81" fmla="*/ 0 w 2904088"/>
              <a:gd name="connsiteY4-82" fmla="*/ 2770934 h 2770934"/>
              <a:gd name="connsiteX5-83" fmla="*/ 24713 w 2904088"/>
              <a:gd name="connsiteY5-84" fmla="*/ 2169160 h 2770934"/>
              <a:gd name="connsiteX0-85" fmla="*/ 0 w 2879375"/>
              <a:gd name="connsiteY0-86" fmla="*/ 2169160 h 2985118"/>
              <a:gd name="connsiteX1-87" fmla="*/ 0 w 2879375"/>
              <a:gd name="connsiteY1-88" fmla="*/ 817880 h 2985118"/>
              <a:gd name="connsiteX2-89" fmla="*/ 2877820 w 2879375"/>
              <a:gd name="connsiteY2-90" fmla="*/ 0 h 2985118"/>
              <a:gd name="connsiteX3-91" fmla="*/ 2878992 w 2879375"/>
              <a:gd name="connsiteY3-92" fmla="*/ 2757268 h 2985118"/>
              <a:gd name="connsiteX4-93" fmla="*/ 8239 w 2879375"/>
              <a:gd name="connsiteY4-94" fmla="*/ 2985118 h 2985118"/>
              <a:gd name="connsiteX5-95" fmla="*/ 0 w 2879375"/>
              <a:gd name="connsiteY5-96" fmla="*/ 2169160 h 2985118"/>
              <a:gd name="connsiteX0-97" fmla="*/ 0 w 2879375"/>
              <a:gd name="connsiteY0-98" fmla="*/ 2169160 h 2985118"/>
              <a:gd name="connsiteX1-99" fmla="*/ 0 w 2879375"/>
              <a:gd name="connsiteY1-100" fmla="*/ 817880 h 2985118"/>
              <a:gd name="connsiteX2-101" fmla="*/ 2877820 w 2879375"/>
              <a:gd name="connsiteY2-102" fmla="*/ 0 h 2985118"/>
              <a:gd name="connsiteX3-103" fmla="*/ 2878992 w 2879375"/>
              <a:gd name="connsiteY3-104" fmla="*/ 2959095 h 2985118"/>
              <a:gd name="connsiteX4-105" fmla="*/ 8239 w 2879375"/>
              <a:gd name="connsiteY4-106" fmla="*/ 2985118 h 2985118"/>
              <a:gd name="connsiteX5-107" fmla="*/ 0 w 2879375"/>
              <a:gd name="connsiteY5-108" fmla="*/ 2169160 h 298511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17" name="Forma libre 16"/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033254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033254 h 5151120"/>
              <a:gd name="connsiteX0-13" fmla="*/ 26520 w 3600300"/>
              <a:gd name="connsiteY0-14" fmla="*/ 2033254 h 5151120"/>
              <a:gd name="connsiteX1-15" fmla="*/ 26520 w 3600300"/>
              <a:gd name="connsiteY1-16" fmla="*/ 1021080 h 5151120"/>
              <a:gd name="connsiteX2-17" fmla="*/ 3600300 w 3600300"/>
              <a:gd name="connsiteY2-18" fmla="*/ 0 h 5151120"/>
              <a:gd name="connsiteX3-19" fmla="*/ 3600300 w 3600300"/>
              <a:gd name="connsiteY3-20" fmla="*/ 5151120 h 5151120"/>
              <a:gd name="connsiteX4-21" fmla="*/ 0 w 3600300"/>
              <a:gd name="connsiteY4-22" fmla="*/ 1902452 h 5151120"/>
              <a:gd name="connsiteX5-23" fmla="*/ 26520 w 3600300"/>
              <a:gd name="connsiteY5-24" fmla="*/ 2033254 h 5151120"/>
              <a:gd name="connsiteX0-25" fmla="*/ 26520 w 3600300"/>
              <a:gd name="connsiteY0-26" fmla="*/ 2033254 h 2033254"/>
              <a:gd name="connsiteX1-27" fmla="*/ 26520 w 3600300"/>
              <a:gd name="connsiteY1-28" fmla="*/ 1021080 h 2033254"/>
              <a:gd name="connsiteX2-29" fmla="*/ 3600300 w 3600300"/>
              <a:gd name="connsiteY2-30" fmla="*/ 0 h 2033254"/>
              <a:gd name="connsiteX3-31" fmla="*/ 3555180 w 3600300"/>
              <a:gd name="connsiteY3-32" fmla="*/ 1902452 h 2033254"/>
              <a:gd name="connsiteX4-33" fmla="*/ 0 w 3600300"/>
              <a:gd name="connsiteY4-34" fmla="*/ 1902452 h 2033254"/>
              <a:gd name="connsiteX5-35" fmla="*/ 26520 w 3600300"/>
              <a:gd name="connsiteY5-36" fmla="*/ 2033254 h 2033254"/>
              <a:gd name="connsiteX0-37" fmla="*/ 26520 w 3607821"/>
              <a:gd name="connsiteY0-38" fmla="*/ 2033254 h 2033254"/>
              <a:gd name="connsiteX1-39" fmla="*/ 26520 w 3607821"/>
              <a:gd name="connsiteY1-40" fmla="*/ 1021080 h 2033254"/>
              <a:gd name="connsiteX2-41" fmla="*/ 3600300 w 3607821"/>
              <a:gd name="connsiteY2-42" fmla="*/ 0 h 2033254"/>
              <a:gd name="connsiteX3-43" fmla="*/ 3607821 w 3607821"/>
              <a:gd name="connsiteY3-44" fmla="*/ 1906212 h 2033254"/>
              <a:gd name="connsiteX4-45" fmla="*/ 0 w 3607821"/>
              <a:gd name="connsiteY4-46" fmla="*/ 1902452 h 2033254"/>
              <a:gd name="connsiteX5-47" fmla="*/ 26520 w 3607821"/>
              <a:gd name="connsiteY5-48" fmla="*/ 2033254 h 2033254"/>
              <a:gd name="connsiteX0-49" fmla="*/ 30280 w 3607821"/>
              <a:gd name="connsiteY0-50" fmla="*/ 1860293 h 1906212"/>
              <a:gd name="connsiteX1-51" fmla="*/ 26520 w 3607821"/>
              <a:gd name="connsiteY1-52" fmla="*/ 1021080 h 1906212"/>
              <a:gd name="connsiteX2-53" fmla="*/ 3600300 w 3607821"/>
              <a:gd name="connsiteY2-54" fmla="*/ 0 h 1906212"/>
              <a:gd name="connsiteX3-55" fmla="*/ 3607821 w 3607821"/>
              <a:gd name="connsiteY3-56" fmla="*/ 1906212 h 1906212"/>
              <a:gd name="connsiteX4-57" fmla="*/ 0 w 3607821"/>
              <a:gd name="connsiteY4-58" fmla="*/ 1902452 h 1906212"/>
              <a:gd name="connsiteX5-59" fmla="*/ 30280 w 3607821"/>
              <a:gd name="connsiteY5-60" fmla="*/ 1860293 h 1906212"/>
              <a:gd name="connsiteX0-61" fmla="*/ 3760 w 3581301"/>
              <a:gd name="connsiteY0-62" fmla="*/ 1860293 h 1909972"/>
              <a:gd name="connsiteX1-63" fmla="*/ 0 w 3581301"/>
              <a:gd name="connsiteY1-64" fmla="*/ 1021080 h 1909972"/>
              <a:gd name="connsiteX2-65" fmla="*/ 3573780 w 3581301"/>
              <a:gd name="connsiteY2-66" fmla="*/ 0 h 1909972"/>
              <a:gd name="connsiteX3-67" fmla="*/ 3581301 w 3581301"/>
              <a:gd name="connsiteY3-68" fmla="*/ 1906212 h 1909972"/>
              <a:gd name="connsiteX4-69" fmla="*/ 11080 w 3581301"/>
              <a:gd name="connsiteY4-70" fmla="*/ 1909972 h 1909972"/>
              <a:gd name="connsiteX5-71" fmla="*/ 3760 w 3581301"/>
              <a:gd name="connsiteY5-72" fmla="*/ 1860293 h 190997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 dirty="0"/>
          </a:p>
        </p:txBody>
      </p:sp>
      <p:sp>
        <p:nvSpPr>
          <p:cNvPr id="5" name="Forma libre 4"/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3670" y="7253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tx1"/>
                </a:solidFill>
              </a:rPr>
              <a:t>‹N°›</a:t>
            </a:fld>
            <a:endParaRPr lang="es-ES" sz="1065" dirty="0">
              <a:solidFill>
                <a:schemeClr val="tx1"/>
              </a:solidFill>
            </a:endParaRPr>
          </a:p>
        </p:txBody>
      </p:sp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3670" y="7253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5078871-D93F-4D40-B540-DC74CFDF655C}" type="slidenum">
              <a:rPr kumimoji="0" lang="es-ES" sz="1065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t>‹N°›</a:t>
            </a:fld>
            <a:endParaRPr kumimoji="0" lang="es-ES" sz="1065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3670" y="7253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tx1"/>
                </a:solidFill>
              </a:rPr>
              <a:t>‹N°›</a:t>
            </a:fld>
            <a:endParaRPr lang="es-ES" sz="1065" dirty="0">
              <a:solidFill>
                <a:schemeClr val="tx1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001" y="6505495"/>
            <a:ext cx="859201" cy="170476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maril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3670" y="7164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4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5078871-D93F-4D40-B540-DC74CFDF655C}" type="slidenum">
              <a:rPr kumimoji="0" lang="es-ES" sz="1065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t>‹N°›</a:t>
            </a:fld>
            <a:endParaRPr kumimoji="0" lang="es-ES" sz="1065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Naranj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3670" y="716498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tx1"/>
                </a:solidFill>
              </a:rPr>
              <a:t>‹N°›</a:t>
            </a:fld>
            <a:endParaRPr lang="es-ES" sz="1065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001" y="6505495"/>
            <a:ext cx="859201" cy="170476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Ro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3670" y="7164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tx1"/>
                </a:solidFill>
              </a:rPr>
              <a:t>‹N°›</a:t>
            </a:fld>
            <a:endParaRPr lang="es-ES" sz="1065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001" y="6505495"/>
            <a:ext cx="859201" cy="170476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Ver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3670" y="7164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tx1"/>
                </a:solidFill>
              </a:rPr>
              <a:t>‹N°›</a:t>
            </a:fld>
            <a:endParaRPr lang="es-ES" sz="1065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001" y="6505495"/>
            <a:ext cx="859201" cy="170476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z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3670" y="716498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tx1"/>
                </a:solidFill>
              </a:rPr>
              <a:t>‹N°›</a:t>
            </a:fld>
            <a:endParaRPr lang="es-ES" sz="1065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001" y="6505495"/>
            <a:ext cx="859201" cy="170476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contenido 10"/>
          <p:cNvSpPr>
            <a:spLocks noGrp="1"/>
          </p:cNvSpPr>
          <p:nvPr>
            <p:ph sz="quarter" idx="10" hasCustomPrompt="1"/>
          </p:nvPr>
        </p:nvSpPr>
        <p:spPr>
          <a:xfrm>
            <a:off x="336004" y="4414944"/>
            <a:ext cx="5651500" cy="2904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2" y="2428697"/>
            <a:ext cx="6310745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00"/>
            </a:lvl1pPr>
          </a:lstStyle>
          <a:p>
            <a:r>
              <a:rPr lang="es-ES" dirty="0"/>
              <a:t>Haga clic para </a:t>
            </a:r>
            <a:br>
              <a:rPr lang="es-ES" dirty="0"/>
            </a:br>
            <a:r>
              <a:rPr lang="es-ES" dirty="0"/>
              <a:t>el título principal</a:t>
            </a:r>
            <a:endParaRPr lang="en-US" dirty="0"/>
          </a:p>
        </p:txBody>
      </p:sp>
      <p:sp>
        <p:nvSpPr>
          <p:cNvPr id="6" name="Marcador de contenido 10"/>
          <p:cNvSpPr>
            <a:spLocks noGrp="1"/>
          </p:cNvSpPr>
          <p:nvPr>
            <p:ph sz="quarter" idx="12" hasCustomPrompt="1"/>
          </p:nvPr>
        </p:nvSpPr>
        <p:spPr>
          <a:xfrm>
            <a:off x="336004" y="4853097"/>
            <a:ext cx="5651500" cy="1994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sz="quarter" idx="13" hasCustomPrompt="1"/>
          </p:nvPr>
        </p:nvSpPr>
        <p:spPr>
          <a:xfrm>
            <a:off x="336000" y="986371"/>
            <a:ext cx="1799167" cy="63923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085668" y="6337302"/>
            <a:ext cx="1444604" cy="176283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5014" y="6118996"/>
            <a:ext cx="1795156" cy="356183"/>
          </a:xfrm>
          <a:prstGeom prst="rect">
            <a:avLst/>
          </a:prstGeom>
        </p:spPr>
      </p:pic>
      <p:grpSp>
        <p:nvGrpSpPr>
          <p:cNvPr id="11" name="Grupo 10"/>
          <p:cNvGrpSpPr/>
          <p:nvPr userDrawn="1"/>
        </p:nvGrpSpPr>
        <p:grpSpPr>
          <a:xfrm>
            <a:off x="6846376" y="1346032"/>
            <a:ext cx="2093250" cy="3698006"/>
            <a:chOff x="4700634" y="1022350"/>
            <a:chExt cx="1569938" cy="2774950"/>
          </a:xfrm>
          <a:solidFill>
            <a:schemeClr val="accent2"/>
          </a:solidFill>
        </p:grpSpPr>
        <p:sp>
          <p:nvSpPr>
            <p:cNvPr id="12" name="Rectángulo 6"/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-1" fmla="*/ 0 w 171450"/>
                <a:gd name="connsiteY0-2" fmla="*/ 0 h 2764631"/>
                <a:gd name="connsiteX1-3" fmla="*/ 171450 w 171450"/>
                <a:gd name="connsiteY1-4" fmla="*/ 0 h 2764631"/>
                <a:gd name="connsiteX2-5" fmla="*/ 171450 w 171450"/>
                <a:gd name="connsiteY2-6" fmla="*/ 2707481 h 2764631"/>
                <a:gd name="connsiteX3-7" fmla="*/ 0 w 171450"/>
                <a:gd name="connsiteY3-8" fmla="*/ 2764631 h 2764631"/>
                <a:gd name="connsiteX4-9" fmla="*/ 0 w 171450"/>
                <a:gd name="connsiteY4-10" fmla="*/ 0 h 2764631"/>
                <a:gd name="connsiteX0-11" fmla="*/ 0 w 171450"/>
                <a:gd name="connsiteY0-12" fmla="*/ 0 h 2761456"/>
                <a:gd name="connsiteX1-13" fmla="*/ 171450 w 171450"/>
                <a:gd name="connsiteY1-14" fmla="*/ 0 h 2761456"/>
                <a:gd name="connsiteX2-15" fmla="*/ 171450 w 171450"/>
                <a:gd name="connsiteY2-16" fmla="*/ 2707481 h 2761456"/>
                <a:gd name="connsiteX3-17" fmla="*/ 0 w 171450"/>
                <a:gd name="connsiteY3-18" fmla="*/ 2761456 h 2761456"/>
                <a:gd name="connsiteX4-19" fmla="*/ 0 w 171450"/>
                <a:gd name="connsiteY4-20" fmla="*/ 0 h 2761456"/>
                <a:gd name="connsiteX0-21" fmla="*/ 0 w 171450"/>
                <a:gd name="connsiteY0-22" fmla="*/ 0 h 2761456"/>
                <a:gd name="connsiteX1-23" fmla="*/ 168275 w 171450"/>
                <a:gd name="connsiteY1-24" fmla="*/ 47393 h 2761456"/>
                <a:gd name="connsiteX2-25" fmla="*/ 171450 w 171450"/>
                <a:gd name="connsiteY2-26" fmla="*/ 2707481 h 2761456"/>
                <a:gd name="connsiteX3-27" fmla="*/ 0 w 171450"/>
                <a:gd name="connsiteY3-28" fmla="*/ 2761456 h 2761456"/>
                <a:gd name="connsiteX4-29" fmla="*/ 0 w 171450"/>
                <a:gd name="connsiteY4-30" fmla="*/ 0 h 276145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  <p:sp>
          <p:nvSpPr>
            <p:cNvPr id="13" name="Rectángulo 12"/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  <p:sp>
          <p:nvSpPr>
            <p:cNvPr id="14" name="Rectángulo 13"/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  <p:sp>
          <p:nvSpPr>
            <p:cNvPr id="15" name="Rectángulo 14"/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grpSp>
        <p:nvGrpSpPr>
          <p:cNvPr id="16" name="Grupo 15"/>
          <p:cNvGrpSpPr/>
          <p:nvPr userDrawn="1"/>
        </p:nvGrpSpPr>
        <p:grpSpPr>
          <a:xfrm>
            <a:off x="8154785" y="1346032"/>
            <a:ext cx="2093250" cy="3698006"/>
            <a:chOff x="4700634" y="1022350"/>
            <a:chExt cx="1569938" cy="2774950"/>
          </a:xfrm>
          <a:solidFill>
            <a:schemeClr val="tx2"/>
          </a:solidFill>
        </p:grpSpPr>
        <p:sp>
          <p:nvSpPr>
            <p:cNvPr id="17" name="Rectángulo 6"/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-1" fmla="*/ 0 w 171450"/>
                <a:gd name="connsiteY0-2" fmla="*/ 0 h 2764631"/>
                <a:gd name="connsiteX1-3" fmla="*/ 171450 w 171450"/>
                <a:gd name="connsiteY1-4" fmla="*/ 0 h 2764631"/>
                <a:gd name="connsiteX2-5" fmla="*/ 171450 w 171450"/>
                <a:gd name="connsiteY2-6" fmla="*/ 2707481 h 2764631"/>
                <a:gd name="connsiteX3-7" fmla="*/ 0 w 171450"/>
                <a:gd name="connsiteY3-8" fmla="*/ 2764631 h 2764631"/>
                <a:gd name="connsiteX4-9" fmla="*/ 0 w 171450"/>
                <a:gd name="connsiteY4-10" fmla="*/ 0 h 2764631"/>
                <a:gd name="connsiteX0-11" fmla="*/ 0 w 171450"/>
                <a:gd name="connsiteY0-12" fmla="*/ 0 h 2761456"/>
                <a:gd name="connsiteX1-13" fmla="*/ 171450 w 171450"/>
                <a:gd name="connsiteY1-14" fmla="*/ 0 h 2761456"/>
                <a:gd name="connsiteX2-15" fmla="*/ 171450 w 171450"/>
                <a:gd name="connsiteY2-16" fmla="*/ 2707481 h 2761456"/>
                <a:gd name="connsiteX3-17" fmla="*/ 0 w 171450"/>
                <a:gd name="connsiteY3-18" fmla="*/ 2761456 h 2761456"/>
                <a:gd name="connsiteX4-19" fmla="*/ 0 w 171450"/>
                <a:gd name="connsiteY4-20" fmla="*/ 0 h 2761456"/>
                <a:gd name="connsiteX0-21" fmla="*/ 0 w 171450"/>
                <a:gd name="connsiteY0-22" fmla="*/ 0 h 2761456"/>
                <a:gd name="connsiteX1-23" fmla="*/ 168275 w 171450"/>
                <a:gd name="connsiteY1-24" fmla="*/ 47393 h 2761456"/>
                <a:gd name="connsiteX2-25" fmla="*/ 171450 w 171450"/>
                <a:gd name="connsiteY2-26" fmla="*/ 2707481 h 2761456"/>
                <a:gd name="connsiteX3-27" fmla="*/ 0 w 171450"/>
                <a:gd name="connsiteY3-28" fmla="*/ 2761456 h 2761456"/>
                <a:gd name="connsiteX4-29" fmla="*/ 0 w 171450"/>
                <a:gd name="connsiteY4-30" fmla="*/ 0 h 276145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  <p:sp>
          <p:nvSpPr>
            <p:cNvPr id="18" name="Rectángulo 17"/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  <p:sp>
          <p:nvSpPr>
            <p:cNvPr id="19" name="Rectángulo 18"/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  <p:sp>
          <p:nvSpPr>
            <p:cNvPr id="20" name="Rectángulo 19"/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grpSp>
        <p:nvGrpSpPr>
          <p:cNvPr id="21" name="Grupo 20"/>
          <p:cNvGrpSpPr/>
          <p:nvPr userDrawn="1"/>
        </p:nvGrpSpPr>
        <p:grpSpPr>
          <a:xfrm>
            <a:off x="9463196" y="1346032"/>
            <a:ext cx="2093250" cy="3698006"/>
            <a:chOff x="4700634" y="1022350"/>
            <a:chExt cx="1569938" cy="2774950"/>
          </a:xfrm>
          <a:solidFill>
            <a:schemeClr val="accent5"/>
          </a:solidFill>
        </p:grpSpPr>
        <p:sp>
          <p:nvSpPr>
            <p:cNvPr id="22" name="Rectángulo 6"/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-1" fmla="*/ 0 w 171450"/>
                <a:gd name="connsiteY0-2" fmla="*/ 0 h 2764631"/>
                <a:gd name="connsiteX1-3" fmla="*/ 171450 w 171450"/>
                <a:gd name="connsiteY1-4" fmla="*/ 0 h 2764631"/>
                <a:gd name="connsiteX2-5" fmla="*/ 171450 w 171450"/>
                <a:gd name="connsiteY2-6" fmla="*/ 2707481 h 2764631"/>
                <a:gd name="connsiteX3-7" fmla="*/ 0 w 171450"/>
                <a:gd name="connsiteY3-8" fmla="*/ 2764631 h 2764631"/>
                <a:gd name="connsiteX4-9" fmla="*/ 0 w 171450"/>
                <a:gd name="connsiteY4-10" fmla="*/ 0 h 2764631"/>
                <a:gd name="connsiteX0-11" fmla="*/ 0 w 171450"/>
                <a:gd name="connsiteY0-12" fmla="*/ 0 h 2761456"/>
                <a:gd name="connsiteX1-13" fmla="*/ 171450 w 171450"/>
                <a:gd name="connsiteY1-14" fmla="*/ 0 h 2761456"/>
                <a:gd name="connsiteX2-15" fmla="*/ 171450 w 171450"/>
                <a:gd name="connsiteY2-16" fmla="*/ 2707481 h 2761456"/>
                <a:gd name="connsiteX3-17" fmla="*/ 0 w 171450"/>
                <a:gd name="connsiteY3-18" fmla="*/ 2761456 h 2761456"/>
                <a:gd name="connsiteX4-19" fmla="*/ 0 w 171450"/>
                <a:gd name="connsiteY4-20" fmla="*/ 0 h 2761456"/>
                <a:gd name="connsiteX0-21" fmla="*/ 0 w 171450"/>
                <a:gd name="connsiteY0-22" fmla="*/ 0 h 2761456"/>
                <a:gd name="connsiteX1-23" fmla="*/ 168275 w 171450"/>
                <a:gd name="connsiteY1-24" fmla="*/ 47393 h 2761456"/>
                <a:gd name="connsiteX2-25" fmla="*/ 171450 w 171450"/>
                <a:gd name="connsiteY2-26" fmla="*/ 2707481 h 2761456"/>
                <a:gd name="connsiteX3-27" fmla="*/ 0 w 171450"/>
                <a:gd name="connsiteY3-28" fmla="*/ 2761456 h 2761456"/>
                <a:gd name="connsiteX4-29" fmla="*/ 0 w 171450"/>
                <a:gd name="connsiteY4-30" fmla="*/ 0 h 276145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  <p:sp>
          <p:nvSpPr>
            <p:cNvPr id="23" name="Rectángulo 22"/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  <p:sp>
          <p:nvSpPr>
            <p:cNvPr id="24" name="Rectángulo 23"/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  <p:sp>
          <p:nvSpPr>
            <p:cNvPr id="25" name="Rectángulo 24"/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Morad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/>
              <a:ea typeface="+mj-ea"/>
              <a:cs typeface="+mj-cs"/>
              <a:sym typeface="Playfair Display" panose="00000500000000000000"/>
            </a:endParaRPr>
          </a:p>
        </p:txBody>
      </p:sp>
      <p:sp>
        <p:nvSpPr>
          <p:cNvPr id="2" name="Rectángu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pic>
        <p:nvPicPr>
          <p:cNvPr id="19" name="Imagen 1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36001" y="6505495"/>
            <a:ext cx="859201" cy="170476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3670" y="7164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tx1"/>
                </a:solidFill>
              </a:rPr>
              <a:t>‹N°›</a:t>
            </a:fld>
            <a:endParaRPr lang="es-ES" sz="1065" dirty="0">
              <a:solidFill>
                <a:schemeClr val="tx1"/>
              </a:solidFill>
            </a:endParaRPr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7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anose="020B0604020202020204" pitchFamily="34" charset="0"/>
              <a:buNone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/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5"/>
            </a:p>
          </p:txBody>
        </p:sp>
        <p:sp>
          <p:nvSpPr>
            <p:cNvPr id="10" name="Triángulo 10"/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-1" fmla="*/ 0 w 2300400"/>
                <a:gd name="connsiteY0-2" fmla="*/ 302400 h 302400"/>
                <a:gd name="connsiteX1-3" fmla="*/ 2300400 w 2300400"/>
                <a:gd name="connsiteY1-4" fmla="*/ 0 h 302400"/>
                <a:gd name="connsiteX2-5" fmla="*/ 2282400 w 2300400"/>
                <a:gd name="connsiteY2-6" fmla="*/ 302400 h 302400"/>
                <a:gd name="connsiteX3-7" fmla="*/ 0 w 2300400"/>
                <a:gd name="connsiteY3-8" fmla="*/ 302400 h 302400"/>
                <a:gd name="connsiteX0-9" fmla="*/ 0 w 1026000"/>
                <a:gd name="connsiteY0-10" fmla="*/ 295200 h 302400"/>
                <a:gd name="connsiteX1-11" fmla="*/ 1026000 w 1026000"/>
                <a:gd name="connsiteY1-12" fmla="*/ 0 h 302400"/>
                <a:gd name="connsiteX2-13" fmla="*/ 1008000 w 1026000"/>
                <a:gd name="connsiteY2-14" fmla="*/ 302400 h 302400"/>
                <a:gd name="connsiteX3-15" fmla="*/ 0 w 1026000"/>
                <a:gd name="connsiteY3-16" fmla="*/ 295200 h 302400"/>
                <a:gd name="connsiteX0-17" fmla="*/ 0 w 1083150"/>
                <a:gd name="connsiteY0-18" fmla="*/ 307900 h 315100"/>
                <a:gd name="connsiteX1-19" fmla="*/ 1083150 w 1083150"/>
                <a:gd name="connsiteY1-20" fmla="*/ 0 h 315100"/>
                <a:gd name="connsiteX2-21" fmla="*/ 1008000 w 1083150"/>
                <a:gd name="connsiteY2-22" fmla="*/ 315100 h 315100"/>
                <a:gd name="connsiteX3-23" fmla="*/ 0 w 1083150"/>
                <a:gd name="connsiteY3-24" fmla="*/ 307900 h 315100"/>
                <a:gd name="connsiteX0-25" fmla="*/ 0 w 1083150"/>
                <a:gd name="connsiteY0-26" fmla="*/ 307900 h 315100"/>
                <a:gd name="connsiteX1-27" fmla="*/ 1083150 w 1083150"/>
                <a:gd name="connsiteY1-28" fmla="*/ 0 h 315100"/>
                <a:gd name="connsiteX2-29" fmla="*/ 1074675 w 1083150"/>
                <a:gd name="connsiteY2-30" fmla="*/ 315100 h 315100"/>
                <a:gd name="connsiteX3-31" fmla="*/ 0 w 1083150"/>
                <a:gd name="connsiteY3-32" fmla="*/ 307900 h 315100"/>
                <a:gd name="connsiteX0-33" fmla="*/ 0 w 1083150"/>
                <a:gd name="connsiteY0-34" fmla="*/ 307900 h 318275"/>
                <a:gd name="connsiteX1-35" fmla="*/ 1083150 w 1083150"/>
                <a:gd name="connsiteY1-36" fmla="*/ 0 h 318275"/>
                <a:gd name="connsiteX2-37" fmla="*/ 1081025 w 1083150"/>
                <a:gd name="connsiteY2-38" fmla="*/ 318275 h 318275"/>
                <a:gd name="connsiteX3-39" fmla="*/ 0 w 1083150"/>
                <a:gd name="connsiteY3-40" fmla="*/ 307900 h 3182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3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anose="020B0604020202020204" pitchFamily="34" charset="0"/>
              <a:buNone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/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5"/>
            </a:p>
          </p:txBody>
        </p:sp>
        <p:sp>
          <p:nvSpPr>
            <p:cNvPr id="10" name="Triángulo 10"/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-1" fmla="*/ 0 w 2300400"/>
                <a:gd name="connsiteY0-2" fmla="*/ 302400 h 302400"/>
                <a:gd name="connsiteX1-3" fmla="*/ 2300400 w 2300400"/>
                <a:gd name="connsiteY1-4" fmla="*/ 0 h 302400"/>
                <a:gd name="connsiteX2-5" fmla="*/ 2282400 w 2300400"/>
                <a:gd name="connsiteY2-6" fmla="*/ 302400 h 302400"/>
                <a:gd name="connsiteX3-7" fmla="*/ 0 w 2300400"/>
                <a:gd name="connsiteY3-8" fmla="*/ 302400 h 302400"/>
                <a:gd name="connsiteX0-9" fmla="*/ 0 w 1026000"/>
                <a:gd name="connsiteY0-10" fmla="*/ 295200 h 302400"/>
                <a:gd name="connsiteX1-11" fmla="*/ 1026000 w 1026000"/>
                <a:gd name="connsiteY1-12" fmla="*/ 0 h 302400"/>
                <a:gd name="connsiteX2-13" fmla="*/ 1008000 w 1026000"/>
                <a:gd name="connsiteY2-14" fmla="*/ 302400 h 302400"/>
                <a:gd name="connsiteX3-15" fmla="*/ 0 w 1026000"/>
                <a:gd name="connsiteY3-16" fmla="*/ 295200 h 302400"/>
                <a:gd name="connsiteX0-17" fmla="*/ 0 w 1083150"/>
                <a:gd name="connsiteY0-18" fmla="*/ 307900 h 315100"/>
                <a:gd name="connsiteX1-19" fmla="*/ 1083150 w 1083150"/>
                <a:gd name="connsiteY1-20" fmla="*/ 0 h 315100"/>
                <a:gd name="connsiteX2-21" fmla="*/ 1008000 w 1083150"/>
                <a:gd name="connsiteY2-22" fmla="*/ 315100 h 315100"/>
                <a:gd name="connsiteX3-23" fmla="*/ 0 w 1083150"/>
                <a:gd name="connsiteY3-24" fmla="*/ 307900 h 315100"/>
                <a:gd name="connsiteX0-25" fmla="*/ 0 w 1083150"/>
                <a:gd name="connsiteY0-26" fmla="*/ 307900 h 315100"/>
                <a:gd name="connsiteX1-27" fmla="*/ 1083150 w 1083150"/>
                <a:gd name="connsiteY1-28" fmla="*/ 0 h 315100"/>
                <a:gd name="connsiteX2-29" fmla="*/ 1074675 w 1083150"/>
                <a:gd name="connsiteY2-30" fmla="*/ 315100 h 315100"/>
                <a:gd name="connsiteX3-31" fmla="*/ 0 w 1083150"/>
                <a:gd name="connsiteY3-32" fmla="*/ 307900 h 315100"/>
                <a:gd name="connsiteX0-33" fmla="*/ 0 w 1083150"/>
                <a:gd name="connsiteY0-34" fmla="*/ 307900 h 318275"/>
                <a:gd name="connsiteX1-35" fmla="*/ 1083150 w 1083150"/>
                <a:gd name="connsiteY1-36" fmla="*/ 0 h 318275"/>
                <a:gd name="connsiteX2-37" fmla="*/ 1081025 w 1083150"/>
                <a:gd name="connsiteY2-38" fmla="*/ 318275 h 318275"/>
                <a:gd name="connsiteX3-39" fmla="*/ 0 w 1083150"/>
                <a:gd name="connsiteY3-40" fmla="*/ 307900 h 3182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sp>
        <p:nvSpPr>
          <p:cNvPr id="13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5999" y="649095"/>
            <a:ext cx="11521567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1" y="357000"/>
            <a:ext cx="11521566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anose="020B0604020202020204" pitchFamily="34" charset="0"/>
              <a:buNone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16" name="Forma libre 15"/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  <p:sp>
          <p:nvSpPr>
            <p:cNvPr id="17" name="Triángulo 10"/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-1" fmla="*/ 0 w 2300400"/>
                <a:gd name="connsiteY0-2" fmla="*/ 302400 h 302400"/>
                <a:gd name="connsiteX1-3" fmla="*/ 2300400 w 2300400"/>
                <a:gd name="connsiteY1-4" fmla="*/ 0 h 302400"/>
                <a:gd name="connsiteX2-5" fmla="*/ 2282400 w 2300400"/>
                <a:gd name="connsiteY2-6" fmla="*/ 302400 h 302400"/>
                <a:gd name="connsiteX3-7" fmla="*/ 0 w 2300400"/>
                <a:gd name="connsiteY3-8" fmla="*/ 302400 h 302400"/>
                <a:gd name="connsiteX0-9" fmla="*/ 0 w 1026000"/>
                <a:gd name="connsiteY0-10" fmla="*/ 295200 h 302400"/>
                <a:gd name="connsiteX1-11" fmla="*/ 1026000 w 1026000"/>
                <a:gd name="connsiteY1-12" fmla="*/ 0 h 302400"/>
                <a:gd name="connsiteX2-13" fmla="*/ 1008000 w 1026000"/>
                <a:gd name="connsiteY2-14" fmla="*/ 302400 h 302400"/>
                <a:gd name="connsiteX3-15" fmla="*/ 0 w 1026000"/>
                <a:gd name="connsiteY3-16" fmla="*/ 295200 h 302400"/>
                <a:gd name="connsiteX0-17" fmla="*/ 0 w 1083150"/>
                <a:gd name="connsiteY0-18" fmla="*/ 307900 h 315100"/>
                <a:gd name="connsiteX1-19" fmla="*/ 1083150 w 1083150"/>
                <a:gd name="connsiteY1-20" fmla="*/ 0 h 315100"/>
                <a:gd name="connsiteX2-21" fmla="*/ 1008000 w 1083150"/>
                <a:gd name="connsiteY2-22" fmla="*/ 315100 h 315100"/>
                <a:gd name="connsiteX3-23" fmla="*/ 0 w 1083150"/>
                <a:gd name="connsiteY3-24" fmla="*/ 307900 h 315100"/>
                <a:gd name="connsiteX0-25" fmla="*/ 0 w 1083150"/>
                <a:gd name="connsiteY0-26" fmla="*/ 307900 h 315100"/>
                <a:gd name="connsiteX1-27" fmla="*/ 1083150 w 1083150"/>
                <a:gd name="connsiteY1-28" fmla="*/ 0 h 315100"/>
                <a:gd name="connsiteX2-29" fmla="*/ 1074675 w 1083150"/>
                <a:gd name="connsiteY2-30" fmla="*/ 315100 h 315100"/>
                <a:gd name="connsiteX3-31" fmla="*/ 0 w 1083150"/>
                <a:gd name="connsiteY3-32" fmla="*/ 307900 h 315100"/>
                <a:gd name="connsiteX0-33" fmla="*/ 0 w 1083150"/>
                <a:gd name="connsiteY0-34" fmla="*/ 307900 h 318275"/>
                <a:gd name="connsiteX1-35" fmla="*/ 1083150 w 1083150"/>
                <a:gd name="connsiteY1-36" fmla="*/ 0 h 318275"/>
                <a:gd name="connsiteX2-37" fmla="*/ 1081025 w 1083150"/>
                <a:gd name="connsiteY2-38" fmla="*/ 318275 h 318275"/>
                <a:gd name="connsiteX3-39" fmla="*/ 0 w 1083150"/>
                <a:gd name="connsiteY3-40" fmla="*/ 307900 h 3182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20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5999" y="649095"/>
            <a:ext cx="11521567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1" y="357000"/>
            <a:ext cx="11521566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anose="020B0604020202020204" pitchFamily="34" charset="0"/>
              <a:buNone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16" name="Forma libre 15"/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  <p:sp>
          <p:nvSpPr>
            <p:cNvPr id="17" name="Triángulo 10"/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-1" fmla="*/ 0 w 2300400"/>
                <a:gd name="connsiteY0-2" fmla="*/ 302400 h 302400"/>
                <a:gd name="connsiteX1-3" fmla="*/ 2300400 w 2300400"/>
                <a:gd name="connsiteY1-4" fmla="*/ 0 h 302400"/>
                <a:gd name="connsiteX2-5" fmla="*/ 2282400 w 2300400"/>
                <a:gd name="connsiteY2-6" fmla="*/ 302400 h 302400"/>
                <a:gd name="connsiteX3-7" fmla="*/ 0 w 2300400"/>
                <a:gd name="connsiteY3-8" fmla="*/ 302400 h 302400"/>
                <a:gd name="connsiteX0-9" fmla="*/ 0 w 1026000"/>
                <a:gd name="connsiteY0-10" fmla="*/ 295200 h 302400"/>
                <a:gd name="connsiteX1-11" fmla="*/ 1026000 w 1026000"/>
                <a:gd name="connsiteY1-12" fmla="*/ 0 h 302400"/>
                <a:gd name="connsiteX2-13" fmla="*/ 1008000 w 1026000"/>
                <a:gd name="connsiteY2-14" fmla="*/ 302400 h 302400"/>
                <a:gd name="connsiteX3-15" fmla="*/ 0 w 1026000"/>
                <a:gd name="connsiteY3-16" fmla="*/ 295200 h 302400"/>
                <a:gd name="connsiteX0-17" fmla="*/ 0 w 1083150"/>
                <a:gd name="connsiteY0-18" fmla="*/ 307900 h 315100"/>
                <a:gd name="connsiteX1-19" fmla="*/ 1083150 w 1083150"/>
                <a:gd name="connsiteY1-20" fmla="*/ 0 h 315100"/>
                <a:gd name="connsiteX2-21" fmla="*/ 1008000 w 1083150"/>
                <a:gd name="connsiteY2-22" fmla="*/ 315100 h 315100"/>
                <a:gd name="connsiteX3-23" fmla="*/ 0 w 1083150"/>
                <a:gd name="connsiteY3-24" fmla="*/ 307900 h 315100"/>
                <a:gd name="connsiteX0-25" fmla="*/ 0 w 1083150"/>
                <a:gd name="connsiteY0-26" fmla="*/ 307900 h 315100"/>
                <a:gd name="connsiteX1-27" fmla="*/ 1083150 w 1083150"/>
                <a:gd name="connsiteY1-28" fmla="*/ 0 h 315100"/>
                <a:gd name="connsiteX2-29" fmla="*/ 1074675 w 1083150"/>
                <a:gd name="connsiteY2-30" fmla="*/ 315100 h 315100"/>
                <a:gd name="connsiteX3-31" fmla="*/ 0 w 1083150"/>
                <a:gd name="connsiteY3-32" fmla="*/ 307900 h 315100"/>
                <a:gd name="connsiteX0-33" fmla="*/ 0 w 1083150"/>
                <a:gd name="connsiteY0-34" fmla="*/ 307900 h 318275"/>
                <a:gd name="connsiteX1-35" fmla="*/ 1083150 w 1083150"/>
                <a:gd name="connsiteY1-36" fmla="*/ 0 h 318275"/>
                <a:gd name="connsiteX2-37" fmla="*/ 1081025 w 1083150"/>
                <a:gd name="connsiteY2-38" fmla="*/ 318275 h 318275"/>
                <a:gd name="connsiteX3-39" fmla="*/ 0 w 1083150"/>
                <a:gd name="connsiteY3-40" fmla="*/ 307900 h 3182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sp>
        <p:nvSpPr>
          <p:cNvPr id="20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anose="020B0604020202020204" pitchFamily="34" charset="0"/>
              <a:buNone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/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5"/>
            </a:p>
          </p:txBody>
        </p:sp>
        <p:sp>
          <p:nvSpPr>
            <p:cNvPr id="10" name="Triángulo 10"/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-1" fmla="*/ 0 w 2300400"/>
                <a:gd name="connsiteY0-2" fmla="*/ 302400 h 302400"/>
                <a:gd name="connsiteX1-3" fmla="*/ 2300400 w 2300400"/>
                <a:gd name="connsiteY1-4" fmla="*/ 0 h 302400"/>
                <a:gd name="connsiteX2-5" fmla="*/ 2282400 w 2300400"/>
                <a:gd name="connsiteY2-6" fmla="*/ 302400 h 302400"/>
                <a:gd name="connsiteX3-7" fmla="*/ 0 w 2300400"/>
                <a:gd name="connsiteY3-8" fmla="*/ 302400 h 302400"/>
                <a:gd name="connsiteX0-9" fmla="*/ 0 w 1026000"/>
                <a:gd name="connsiteY0-10" fmla="*/ 295200 h 302400"/>
                <a:gd name="connsiteX1-11" fmla="*/ 1026000 w 1026000"/>
                <a:gd name="connsiteY1-12" fmla="*/ 0 h 302400"/>
                <a:gd name="connsiteX2-13" fmla="*/ 1008000 w 1026000"/>
                <a:gd name="connsiteY2-14" fmla="*/ 302400 h 302400"/>
                <a:gd name="connsiteX3-15" fmla="*/ 0 w 1026000"/>
                <a:gd name="connsiteY3-16" fmla="*/ 295200 h 302400"/>
                <a:gd name="connsiteX0-17" fmla="*/ 0 w 1083150"/>
                <a:gd name="connsiteY0-18" fmla="*/ 307900 h 315100"/>
                <a:gd name="connsiteX1-19" fmla="*/ 1083150 w 1083150"/>
                <a:gd name="connsiteY1-20" fmla="*/ 0 h 315100"/>
                <a:gd name="connsiteX2-21" fmla="*/ 1008000 w 1083150"/>
                <a:gd name="connsiteY2-22" fmla="*/ 315100 h 315100"/>
                <a:gd name="connsiteX3-23" fmla="*/ 0 w 1083150"/>
                <a:gd name="connsiteY3-24" fmla="*/ 307900 h 315100"/>
                <a:gd name="connsiteX0-25" fmla="*/ 0 w 1083150"/>
                <a:gd name="connsiteY0-26" fmla="*/ 307900 h 315100"/>
                <a:gd name="connsiteX1-27" fmla="*/ 1083150 w 1083150"/>
                <a:gd name="connsiteY1-28" fmla="*/ 0 h 315100"/>
                <a:gd name="connsiteX2-29" fmla="*/ 1074675 w 1083150"/>
                <a:gd name="connsiteY2-30" fmla="*/ 315100 h 315100"/>
                <a:gd name="connsiteX3-31" fmla="*/ 0 w 1083150"/>
                <a:gd name="connsiteY3-32" fmla="*/ 307900 h 315100"/>
                <a:gd name="connsiteX0-33" fmla="*/ 0 w 1083150"/>
                <a:gd name="connsiteY0-34" fmla="*/ 307900 h 318275"/>
                <a:gd name="connsiteX1-35" fmla="*/ 1083150 w 1083150"/>
                <a:gd name="connsiteY1-36" fmla="*/ 0 h 318275"/>
                <a:gd name="connsiteX2-37" fmla="*/ 1081025 w 1083150"/>
                <a:gd name="connsiteY2-38" fmla="*/ 318275 h 318275"/>
                <a:gd name="connsiteX3-39" fmla="*/ 0 w 1083150"/>
                <a:gd name="connsiteY3-40" fmla="*/ 307900 h 3182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3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anose="020B0604020202020204" pitchFamily="34" charset="0"/>
              <a:buNone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/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5"/>
            </a:p>
          </p:txBody>
        </p:sp>
        <p:sp>
          <p:nvSpPr>
            <p:cNvPr id="10" name="Triángulo 10"/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-1" fmla="*/ 0 w 2300400"/>
                <a:gd name="connsiteY0-2" fmla="*/ 302400 h 302400"/>
                <a:gd name="connsiteX1-3" fmla="*/ 2300400 w 2300400"/>
                <a:gd name="connsiteY1-4" fmla="*/ 0 h 302400"/>
                <a:gd name="connsiteX2-5" fmla="*/ 2282400 w 2300400"/>
                <a:gd name="connsiteY2-6" fmla="*/ 302400 h 302400"/>
                <a:gd name="connsiteX3-7" fmla="*/ 0 w 2300400"/>
                <a:gd name="connsiteY3-8" fmla="*/ 302400 h 302400"/>
                <a:gd name="connsiteX0-9" fmla="*/ 0 w 1026000"/>
                <a:gd name="connsiteY0-10" fmla="*/ 295200 h 302400"/>
                <a:gd name="connsiteX1-11" fmla="*/ 1026000 w 1026000"/>
                <a:gd name="connsiteY1-12" fmla="*/ 0 h 302400"/>
                <a:gd name="connsiteX2-13" fmla="*/ 1008000 w 1026000"/>
                <a:gd name="connsiteY2-14" fmla="*/ 302400 h 302400"/>
                <a:gd name="connsiteX3-15" fmla="*/ 0 w 1026000"/>
                <a:gd name="connsiteY3-16" fmla="*/ 295200 h 302400"/>
                <a:gd name="connsiteX0-17" fmla="*/ 0 w 1083150"/>
                <a:gd name="connsiteY0-18" fmla="*/ 307900 h 315100"/>
                <a:gd name="connsiteX1-19" fmla="*/ 1083150 w 1083150"/>
                <a:gd name="connsiteY1-20" fmla="*/ 0 h 315100"/>
                <a:gd name="connsiteX2-21" fmla="*/ 1008000 w 1083150"/>
                <a:gd name="connsiteY2-22" fmla="*/ 315100 h 315100"/>
                <a:gd name="connsiteX3-23" fmla="*/ 0 w 1083150"/>
                <a:gd name="connsiteY3-24" fmla="*/ 307900 h 315100"/>
                <a:gd name="connsiteX0-25" fmla="*/ 0 w 1083150"/>
                <a:gd name="connsiteY0-26" fmla="*/ 307900 h 315100"/>
                <a:gd name="connsiteX1-27" fmla="*/ 1083150 w 1083150"/>
                <a:gd name="connsiteY1-28" fmla="*/ 0 h 315100"/>
                <a:gd name="connsiteX2-29" fmla="*/ 1074675 w 1083150"/>
                <a:gd name="connsiteY2-30" fmla="*/ 315100 h 315100"/>
                <a:gd name="connsiteX3-31" fmla="*/ 0 w 1083150"/>
                <a:gd name="connsiteY3-32" fmla="*/ 307900 h 315100"/>
                <a:gd name="connsiteX0-33" fmla="*/ 0 w 1083150"/>
                <a:gd name="connsiteY0-34" fmla="*/ 307900 h 318275"/>
                <a:gd name="connsiteX1-35" fmla="*/ 1083150 w 1083150"/>
                <a:gd name="connsiteY1-36" fmla="*/ 0 h 318275"/>
                <a:gd name="connsiteX2-37" fmla="*/ 1081025 w 1083150"/>
                <a:gd name="connsiteY2-38" fmla="*/ 318275 h 318275"/>
                <a:gd name="connsiteX3-39" fmla="*/ 0 w 1083150"/>
                <a:gd name="connsiteY3-40" fmla="*/ 307900 h 3182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sp>
        <p:nvSpPr>
          <p:cNvPr id="13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anose="020B0604020202020204" pitchFamily="34" charset="0"/>
              <a:buNone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/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5"/>
            </a:p>
          </p:txBody>
        </p:sp>
        <p:sp>
          <p:nvSpPr>
            <p:cNvPr id="10" name="Triángulo 10"/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-1" fmla="*/ 0 w 2300400"/>
                <a:gd name="connsiteY0-2" fmla="*/ 302400 h 302400"/>
                <a:gd name="connsiteX1-3" fmla="*/ 2300400 w 2300400"/>
                <a:gd name="connsiteY1-4" fmla="*/ 0 h 302400"/>
                <a:gd name="connsiteX2-5" fmla="*/ 2282400 w 2300400"/>
                <a:gd name="connsiteY2-6" fmla="*/ 302400 h 302400"/>
                <a:gd name="connsiteX3-7" fmla="*/ 0 w 2300400"/>
                <a:gd name="connsiteY3-8" fmla="*/ 302400 h 302400"/>
                <a:gd name="connsiteX0-9" fmla="*/ 0 w 1026000"/>
                <a:gd name="connsiteY0-10" fmla="*/ 295200 h 302400"/>
                <a:gd name="connsiteX1-11" fmla="*/ 1026000 w 1026000"/>
                <a:gd name="connsiteY1-12" fmla="*/ 0 h 302400"/>
                <a:gd name="connsiteX2-13" fmla="*/ 1008000 w 1026000"/>
                <a:gd name="connsiteY2-14" fmla="*/ 302400 h 302400"/>
                <a:gd name="connsiteX3-15" fmla="*/ 0 w 1026000"/>
                <a:gd name="connsiteY3-16" fmla="*/ 295200 h 302400"/>
                <a:gd name="connsiteX0-17" fmla="*/ 0 w 1083150"/>
                <a:gd name="connsiteY0-18" fmla="*/ 307900 h 315100"/>
                <a:gd name="connsiteX1-19" fmla="*/ 1083150 w 1083150"/>
                <a:gd name="connsiteY1-20" fmla="*/ 0 h 315100"/>
                <a:gd name="connsiteX2-21" fmla="*/ 1008000 w 1083150"/>
                <a:gd name="connsiteY2-22" fmla="*/ 315100 h 315100"/>
                <a:gd name="connsiteX3-23" fmla="*/ 0 w 1083150"/>
                <a:gd name="connsiteY3-24" fmla="*/ 307900 h 315100"/>
                <a:gd name="connsiteX0-25" fmla="*/ 0 w 1083150"/>
                <a:gd name="connsiteY0-26" fmla="*/ 307900 h 315100"/>
                <a:gd name="connsiteX1-27" fmla="*/ 1083150 w 1083150"/>
                <a:gd name="connsiteY1-28" fmla="*/ 0 h 315100"/>
                <a:gd name="connsiteX2-29" fmla="*/ 1074675 w 1083150"/>
                <a:gd name="connsiteY2-30" fmla="*/ 315100 h 315100"/>
                <a:gd name="connsiteX3-31" fmla="*/ 0 w 1083150"/>
                <a:gd name="connsiteY3-32" fmla="*/ 307900 h 315100"/>
                <a:gd name="connsiteX0-33" fmla="*/ 0 w 1083150"/>
                <a:gd name="connsiteY0-34" fmla="*/ 307900 h 318275"/>
                <a:gd name="connsiteX1-35" fmla="*/ 1083150 w 1083150"/>
                <a:gd name="connsiteY1-36" fmla="*/ 0 h 318275"/>
                <a:gd name="connsiteX2-37" fmla="*/ 1081025 w 1083150"/>
                <a:gd name="connsiteY2-38" fmla="*/ 318275 h 318275"/>
                <a:gd name="connsiteX3-39" fmla="*/ 0 w 1083150"/>
                <a:gd name="connsiteY3-40" fmla="*/ 307900 h 3182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3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anose="020B0604020202020204" pitchFamily="34" charset="0"/>
              <a:buNone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/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5"/>
            </a:p>
          </p:txBody>
        </p:sp>
        <p:sp>
          <p:nvSpPr>
            <p:cNvPr id="10" name="Triángulo 10"/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-1" fmla="*/ 0 w 2300400"/>
                <a:gd name="connsiteY0-2" fmla="*/ 302400 h 302400"/>
                <a:gd name="connsiteX1-3" fmla="*/ 2300400 w 2300400"/>
                <a:gd name="connsiteY1-4" fmla="*/ 0 h 302400"/>
                <a:gd name="connsiteX2-5" fmla="*/ 2282400 w 2300400"/>
                <a:gd name="connsiteY2-6" fmla="*/ 302400 h 302400"/>
                <a:gd name="connsiteX3-7" fmla="*/ 0 w 2300400"/>
                <a:gd name="connsiteY3-8" fmla="*/ 302400 h 302400"/>
                <a:gd name="connsiteX0-9" fmla="*/ 0 w 1026000"/>
                <a:gd name="connsiteY0-10" fmla="*/ 295200 h 302400"/>
                <a:gd name="connsiteX1-11" fmla="*/ 1026000 w 1026000"/>
                <a:gd name="connsiteY1-12" fmla="*/ 0 h 302400"/>
                <a:gd name="connsiteX2-13" fmla="*/ 1008000 w 1026000"/>
                <a:gd name="connsiteY2-14" fmla="*/ 302400 h 302400"/>
                <a:gd name="connsiteX3-15" fmla="*/ 0 w 1026000"/>
                <a:gd name="connsiteY3-16" fmla="*/ 295200 h 302400"/>
                <a:gd name="connsiteX0-17" fmla="*/ 0 w 1083150"/>
                <a:gd name="connsiteY0-18" fmla="*/ 307900 h 315100"/>
                <a:gd name="connsiteX1-19" fmla="*/ 1083150 w 1083150"/>
                <a:gd name="connsiteY1-20" fmla="*/ 0 h 315100"/>
                <a:gd name="connsiteX2-21" fmla="*/ 1008000 w 1083150"/>
                <a:gd name="connsiteY2-22" fmla="*/ 315100 h 315100"/>
                <a:gd name="connsiteX3-23" fmla="*/ 0 w 1083150"/>
                <a:gd name="connsiteY3-24" fmla="*/ 307900 h 315100"/>
                <a:gd name="connsiteX0-25" fmla="*/ 0 w 1083150"/>
                <a:gd name="connsiteY0-26" fmla="*/ 307900 h 315100"/>
                <a:gd name="connsiteX1-27" fmla="*/ 1083150 w 1083150"/>
                <a:gd name="connsiteY1-28" fmla="*/ 0 h 315100"/>
                <a:gd name="connsiteX2-29" fmla="*/ 1074675 w 1083150"/>
                <a:gd name="connsiteY2-30" fmla="*/ 315100 h 315100"/>
                <a:gd name="connsiteX3-31" fmla="*/ 0 w 1083150"/>
                <a:gd name="connsiteY3-32" fmla="*/ 307900 h 315100"/>
                <a:gd name="connsiteX0-33" fmla="*/ 0 w 1083150"/>
                <a:gd name="connsiteY0-34" fmla="*/ 307900 h 318275"/>
                <a:gd name="connsiteX1-35" fmla="*/ 1083150 w 1083150"/>
                <a:gd name="connsiteY1-36" fmla="*/ 0 h 318275"/>
                <a:gd name="connsiteX2-37" fmla="*/ 1081025 w 1083150"/>
                <a:gd name="connsiteY2-38" fmla="*/ 318275 h 318275"/>
                <a:gd name="connsiteX3-39" fmla="*/ 0 w 1083150"/>
                <a:gd name="connsiteY3-40" fmla="*/ 307900 h 3182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sp>
        <p:nvSpPr>
          <p:cNvPr id="13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anose="020B0604020202020204" pitchFamily="34" charset="0"/>
              <a:buNone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9" name="Forma libre 8"/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5"/>
            </a:p>
          </p:txBody>
        </p:sp>
        <p:sp>
          <p:nvSpPr>
            <p:cNvPr id="10" name="Triángulo 10"/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-1" fmla="*/ 0 w 2300400"/>
                <a:gd name="connsiteY0-2" fmla="*/ 302400 h 302400"/>
                <a:gd name="connsiteX1-3" fmla="*/ 2300400 w 2300400"/>
                <a:gd name="connsiteY1-4" fmla="*/ 0 h 302400"/>
                <a:gd name="connsiteX2-5" fmla="*/ 2282400 w 2300400"/>
                <a:gd name="connsiteY2-6" fmla="*/ 302400 h 302400"/>
                <a:gd name="connsiteX3-7" fmla="*/ 0 w 2300400"/>
                <a:gd name="connsiteY3-8" fmla="*/ 302400 h 302400"/>
                <a:gd name="connsiteX0-9" fmla="*/ 0 w 1026000"/>
                <a:gd name="connsiteY0-10" fmla="*/ 295200 h 302400"/>
                <a:gd name="connsiteX1-11" fmla="*/ 1026000 w 1026000"/>
                <a:gd name="connsiteY1-12" fmla="*/ 0 h 302400"/>
                <a:gd name="connsiteX2-13" fmla="*/ 1008000 w 1026000"/>
                <a:gd name="connsiteY2-14" fmla="*/ 302400 h 302400"/>
                <a:gd name="connsiteX3-15" fmla="*/ 0 w 1026000"/>
                <a:gd name="connsiteY3-16" fmla="*/ 295200 h 302400"/>
                <a:gd name="connsiteX0-17" fmla="*/ 0 w 1083150"/>
                <a:gd name="connsiteY0-18" fmla="*/ 307900 h 315100"/>
                <a:gd name="connsiteX1-19" fmla="*/ 1083150 w 1083150"/>
                <a:gd name="connsiteY1-20" fmla="*/ 0 h 315100"/>
                <a:gd name="connsiteX2-21" fmla="*/ 1008000 w 1083150"/>
                <a:gd name="connsiteY2-22" fmla="*/ 315100 h 315100"/>
                <a:gd name="connsiteX3-23" fmla="*/ 0 w 1083150"/>
                <a:gd name="connsiteY3-24" fmla="*/ 307900 h 315100"/>
                <a:gd name="connsiteX0-25" fmla="*/ 0 w 1083150"/>
                <a:gd name="connsiteY0-26" fmla="*/ 307900 h 315100"/>
                <a:gd name="connsiteX1-27" fmla="*/ 1083150 w 1083150"/>
                <a:gd name="connsiteY1-28" fmla="*/ 0 h 315100"/>
                <a:gd name="connsiteX2-29" fmla="*/ 1074675 w 1083150"/>
                <a:gd name="connsiteY2-30" fmla="*/ 315100 h 315100"/>
                <a:gd name="connsiteX3-31" fmla="*/ 0 w 1083150"/>
                <a:gd name="connsiteY3-32" fmla="*/ 307900 h 315100"/>
                <a:gd name="connsiteX0-33" fmla="*/ 0 w 1083150"/>
                <a:gd name="connsiteY0-34" fmla="*/ 307900 h 318275"/>
                <a:gd name="connsiteX1-35" fmla="*/ 1083150 w 1083150"/>
                <a:gd name="connsiteY1-36" fmla="*/ 0 h 318275"/>
                <a:gd name="connsiteX2-37" fmla="*/ 1081025 w 1083150"/>
                <a:gd name="connsiteY2-38" fmla="*/ 318275 h 318275"/>
                <a:gd name="connsiteX3-39" fmla="*/ 0 w 1083150"/>
                <a:gd name="connsiteY3-40" fmla="*/ 307900 h 3182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3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336000" y="645587"/>
            <a:ext cx="11017800" cy="863601"/>
          </a:xfrm>
          <a:prstGeom prst="rect">
            <a:avLst/>
          </a:prstGeom>
        </p:spPr>
        <p:txBody>
          <a:bodyPr lIns="0" tIns="0" rIns="0" bIns="0"/>
          <a:lstStyle>
            <a:lvl1pPr>
              <a:defRPr sz="2800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Forma libre 3"/>
          <p:cNvSpPr/>
          <p:nvPr userDrawn="1"/>
        </p:nvSpPr>
        <p:spPr>
          <a:xfrm>
            <a:off x="4328250" y="2232949"/>
            <a:ext cx="7939453" cy="4757592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50901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3106210 h 5151120"/>
              <a:gd name="connsiteX4-9" fmla="*/ 0 w 3589020"/>
              <a:gd name="connsiteY4-10" fmla="*/ 5151120 h 5151120"/>
              <a:gd name="connsiteX5-11" fmla="*/ 15240 w 3589020"/>
              <a:gd name="connsiteY5-12" fmla="*/ 5090160 h 5151120"/>
              <a:gd name="connsiteX0-13" fmla="*/ 15240 w 3589020"/>
              <a:gd name="connsiteY0-14" fmla="*/ 3040516 h 5151120"/>
              <a:gd name="connsiteX1-15" fmla="*/ 15240 w 3589020"/>
              <a:gd name="connsiteY1-16" fmla="*/ 1021080 h 5151120"/>
              <a:gd name="connsiteX2-17" fmla="*/ 3589020 w 3589020"/>
              <a:gd name="connsiteY2-18" fmla="*/ 0 h 5151120"/>
              <a:gd name="connsiteX3-19" fmla="*/ 3589020 w 3589020"/>
              <a:gd name="connsiteY3-20" fmla="*/ 3106210 h 5151120"/>
              <a:gd name="connsiteX4-21" fmla="*/ 0 w 3589020"/>
              <a:gd name="connsiteY4-22" fmla="*/ 5151120 h 5151120"/>
              <a:gd name="connsiteX5-23" fmla="*/ 15240 w 3589020"/>
              <a:gd name="connsiteY5-24" fmla="*/ 3040516 h 5151120"/>
              <a:gd name="connsiteX0-25" fmla="*/ 0 w 3573780"/>
              <a:gd name="connsiteY0-26" fmla="*/ 3040516 h 3106210"/>
              <a:gd name="connsiteX1-27" fmla="*/ 0 w 3573780"/>
              <a:gd name="connsiteY1-28" fmla="*/ 1021080 h 3106210"/>
              <a:gd name="connsiteX2-29" fmla="*/ 3573780 w 3573780"/>
              <a:gd name="connsiteY2-30" fmla="*/ 0 h 3106210"/>
              <a:gd name="connsiteX3-31" fmla="*/ 3573780 w 3573780"/>
              <a:gd name="connsiteY3-32" fmla="*/ 3106210 h 3106210"/>
              <a:gd name="connsiteX4-33" fmla="*/ 955145 w 3573780"/>
              <a:gd name="connsiteY4-34" fmla="*/ 3068341 h 3106210"/>
              <a:gd name="connsiteX5-35" fmla="*/ 0 w 3573780"/>
              <a:gd name="connsiteY5-36" fmla="*/ 3040516 h 3106210"/>
              <a:gd name="connsiteX0-37" fmla="*/ 0 w 3583247"/>
              <a:gd name="connsiteY0-38" fmla="*/ 3130454 h 3130454"/>
              <a:gd name="connsiteX1-39" fmla="*/ 9467 w 3583247"/>
              <a:gd name="connsiteY1-40" fmla="*/ 1021080 h 3130454"/>
              <a:gd name="connsiteX2-41" fmla="*/ 3583247 w 3583247"/>
              <a:gd name="connsiteY2-42" fmla="*/ 0 h 3130454"/>
              <a:gd name="connsiteX3-43" fmla="*/ 3583247 w 3583247"/>
              <a:gd name="connsiteY3-44" fmla="*/ 3106210 h 3130454"/>
              <a:gd name="connsiteX4-45" fmla="*/ 964612 w 3583247"/>
              <a:gd name="connsiteY4-46" fmla="*/ 3068341 h 3130454"/>
              <a:gd name="connsiteX5-47" fmla="*/ 0 w 3583247"/>
              <a:gd name="connsiteY5-48" fmla="*/ 3130454 h 3130454"/>
              <a:gd name="connsiteX0-49" fmla="*/ 0 w 3583247"/>
              <a:gd name="connsiteY0-50" fmla="*/ 3130454 h 3134611"/>
              <a:gd name="connsiteX1-51" fmla="*/ 9467 w 3583247"/>
              <a:gd name="connsiteY1-52" fmla="*/ 1021080 h 3134611"/>
              <a:gd name="connsiteX2-53" fmla="*/ 3583247 w 3583247"/>
              <a:gd name="connsiteY2-54" fmla="*/ 0 h 3134611"/>
              <a:gd name="connsiteX3-55" fmla="*/ 3583247 w 3583247"/>
              <a:gd name="connsiteY3-56" fmla="*/ 3106210 h 3134611"/>
              <a:gd name="connsiteX4-57" fmla="*/ 1011948 w 3583247"/>
              <a:gd name="connsiteY4-58" fmla="*/ 3134611 h 3134611"/>
              <a:gd name="connsiteX5-59" fmla="*/ 0 w 3583247"/>
              <a:gd name="connsiteY5-60" fmla="*/ 3130454 h 3134611"/>
              <a:gd name="connsiteX0-61" fmla="*/ 0 w 3583247"/>
              <a:gd name="connsiteY0-62" fmla="*/ 3130454 h 3139345"/>
              <a:gd name="connsiteX1-63" fmla="*/ 9467 w 3583247"/>
              <a:gd name="connsiteY1-64" fmla="*/ 1021080 h 3139345"/>
              <a:gd name="connsiteX2-65" fmla="*/ 3583247 w 3583247"/>
              <a:gd name="connsiteY2-66" fmla="*/ 0 h 3139345"/>
              <a:gd name="connsiteX3-67" fmla="*/ 3578513 w 3583247"/>
              <a:gd name="connsiteY3-68" fmla="*/ 3139345 h 3139345"/>
              <a:gd name="connsiteX4-69" fmla="*/ 1011948 w 3583247"/>
              <a:gd name="connsiteY4-70" fmla="*/ 3134611 h 3139345"/>
              <a:gd name="connsiteX5-71" fmla="*/ 0 w 3583247"/>
              <a:gd name="connsiteY5-72" fmla="*/ 3130454 h 3139345"/>
              <a:gd name="connsiteX0-73" fmla="*/ 0 w 3575725"/>
              <a:gd name="connsiteY0-74" fmla="*/ 2126285 h 3139345"/>
              <a:gd name="connsiteX1-75" fmla="*/ 1945 w 3575725"/>
              <a:gd name="connsiteY1-76" fmla="*/ 1021080 h 3139345"/>
              <a:gd name="connsiteX2-77" fmla="*/ 3575725 w 3575725"/>
              <a:gd name="connsiteY2-78" fmla="*/ 0 h 3139345"/>
              <a:gd name="connsiteX3-79" fmla="*/ 3570991 w 3575725"/>
              <a:gd name="connsiteY3-80" fmla="*/ 3139345 h 3139345"/>
              <a:gd name="connsiteX4-81" fmla="*/ 1004426 w 3575725"/>
              <a:gd name="connsiteY4-82" fmla="*/ 3134611 h 3139345"/>
              <a:gd name="connsiteX5-83" fmla="*/ 0 w 3575725"/>
              <a:gd name="connsiteY5-84" fmla="*/ 2126285 h 3139345"/>
              <a:gd name="connsiteX0-85" fmla="*/ 0 w 3575725"/>
              <a:gd name="connsiteY0-86" fmla="*/ 2126285 h 3139345"/>
              <a:gd name="connsiteX1-87" fmla="*/ 1945 w 3575725"/>
              <a:gd name="connsiteY1-88" fmla="*/ 1021080 h 3139345"/>
              <a:gd name="connsiteX2-89" fmla="*/ 3575725 w 3575725"/>
              <a:gd name="connsiteY2-90" fmla="*/ 0 h 3139345"/>
              <a:gd name="connsiteX3-91" fmla="*/ 3570991 w 3575725"/>
              <a:gd name="connsiteY3-92" fmla="*/ 3139345 h 3139345"/>
              <a:gd name="connsiteX4-93" fmla="*/ 2606583 w 3575725"/>
              <a:gd name="connsiteY4-94" fmla="*/ 2141725 h 3139345"/>
              <a:gd name="connsiteX5-95" fmla="*/ 0 w 3575725"/>
              <a:gd name="connsiteY5-96" fmla="*/ 2126285 h 3139345"/>
              <a:gd name="connsiteX0-97" fmla="*/ 0 w 3575725"/>
              <a:gd name="connsiteY0-98" fmla="*/ 2126285 h 2142697"/>
              <a:gd name="connsiteX1-99" fmla="*/ 1945 w 3575725"/>
              <a:gd name="connsiteY1-100" fmla="*/ 1021080 h 2142697"/>
              <a:gd name="connsiteX2-101" fmla="*/ 3575725 w 3575725"/>
              <a:gd name="connsiteY2-102" fmla="*/ 0 h 2142697"/>
              <a:gd name="connsiteX3-103" fmla="*/ 3574752 w 3575725"/>
              <a:gd name="connsiteY3-104" fmla="*/ 2142697 h 2142697"/>
              <a:gd name="connsiteX4-105" fmla="*/ 2606583 w 3575725"/>
              <a:gd name="connsiteY4-106" fmla="*/ 2141725 h 2142697"/>
              <a:gd name="connsiteX5-107" fmla="*/ 0 w 3575725"/>
              <a:gd name="connsiteY5-108" fmla="*/ 2126285 h 21426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5" name="Forma libre 4"/>
          <p:cNvSpPr/>
          <p:nvPr userDrawn="1"/>
        </p:nvSpPr>
        <p:spPr>
          <a:xfrm>
            <a:off x="2796363" y="894269"/>
            <a:ext cx="7956155" cy="6096272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50901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3106210 h 5151120"/>
              <a:gd name="connsiteX4-9" fmla="*/ 0 w 3589020"/>
              <a:gd name="connsiteY4-10" fmla="*/ 5151120 h 5151120"/>
              <a:gd name="connsiteX5-11" fmla="*/ 15240 w 3589020"/>
              <a:gd name="connsiteY5-12" fmla="*/ 5090160 h 5151120"/>
              <a:gd name="connsiteX0-13" fmla="*/ 15240 w 3589020"/>
              <a:gd name="connsiteY0-14" fmla="*/ 3040516 h 5151120"/>
              <a:gd name="connsiteX1-15" fmla="*/ 15240 w 3589020"/>
              <a:gd name="connsiteY1-16" fmla="*/ 1021080 h 5151120"/>
              <a:gd name="connsiteX2-17" fmla="*/ 3589020 w 3589020"/>
              <a:gd name="connsiteY2-18" fmla="*/ 0 h 5151120"/>
              <a:gd name="connsiteX3-19" fmla="*/ 3589020 w 3589020"/>
              <a:gd name="connsiteY3-20" fmla="*/ 3106210 h 5151120"/>
              <a:gd name="connsiteX4-21" fmla="*/ 0 w 3589020"/>
              <a:gd name="connsiteY4-22" fmla="*/ 5151120 h 5151120"/>
              <a:gd name="connsiteX5-23" fmla="*/ 15240 w 3589020"/>
              <a:gd name="connsiteY5-24" fmla="*/ 3040516 h 5151120"/>
              <a:gd name="connsiteX0-25" fmla="*/ 0 w 3573780"/>
              <a:gd name="connsiteY0-26" fmla="*/ 3040516 h 3106210"/>
              <a:gd name="connsiteX1-27" fmla="*/ 0 w 3573780"/>
              <a:gd name="connsiteY1-28" fmla="*/ 1021080 h 3106210"/>
              <a:gd name="connsiteX2-29" fmla="*/ 3573780 w 3573780"/>
              <a:gd name="connsiteY2-30" fmla="*/ 0 h 3106210"/>
              <a:gd name="connsiteX3-31" fmla="*/ 3573780 w 3573780"/>
              <a:gd name="connsiteY3-32" fmla="*/ 3106210 h 3106210"/>
              <a:gd name="connsiteX4-33" fmla="*/ 955145 w 3573780"/>
              <a:gd name="connsiteY4-34" fmla="*/ 3068341 h 3106210"/>
              <a:gd name="connsiteX5-35" fmla="*/ 0 w 3573780"/>
              <a:gd name="connsiteY5-36" fmla="*/ 3040516 h 3106210"/>
              <a:gd name="connsiteX0-37" fmla="*/ 0 w 3583247"/>
              <a:gd name="connsiteY0-38" fmla="*/ 3130454 h 3130454"/>
              <a:gd name="connsiteX1-39" fmla="*/ 9467 w 3583247"/>
              <a:gd name="connsiteY1-40" fmla="*/ 1021080 h 3130454"/>
              <a:gd name="connsiteX2-41" fmla="*/ 3583247 w 3583247"/>
              <a:gd name="connsiteY2-42" fmla="*/ 0 h 3130454"/>
              <a:gd name="connsiteX3-43" fmla="*/ 3583247 w 3583247"/>
              <a:gd name="connsiteY3-44" fmla="*/ 3106210 h 3130454"/>
              <a:gd name="connsiteX4-45" fmla="*/ 964612 w 3583247"/>
              <a:gd name="connsiteY4-46" fmla="*/ 3068341 h 3130454"/>
              <a:gd name="connsiteX5-47" fmla="*/ 0 w 3583247"/>
              <a:gd name="connsiteY5-48" fmla="*/ 3130454 h 3130454"/>
              <a:gd name="connsiteX0-49" fmla="*/ 0 w 3583247"/>
              <a:gd name="connsiteY0-50" fmla="*/ 3130454 h 3134611"/>
              <a:gd name="connsiteX1-51" fmla="*/ 9467 w 3583247"/>
              <a:gd name="connsiteY1-52" fmla="*/ 1021080 h 3134611"/>
              <a:gd name="connsiteX2-53" fmla="*/ 3583247 w 3583247"/>
              <a:gd name="connsiteY2-54" fmla="*/ 0 h 3134611"/>
              <a:gd name="connsiteX3-55" fmla="*/ 3583247 w 3583247"/>
              <a:gd name="connsiteY3-56" fmla="*/ 3106210 h 3134611"/>
              <a:gd name="connsiteX4-57" fmla="*/ 1011948 w 3583247"/>
              <a:gd name="connsiteY4-58" fmla="*/ 3134611 h 3134611"/>
              <a:gd name="connsiteX5-59" fmla="*/ 0 w 3583247"/>
              <a:gd name="connsiteY5-60" fmla="*/ 3130454 h 3134611"/>
              <a:gd name="connsiteX0-61" fmla="*/ 0 w 3583247"/>
              <a:gd name="connsiteY0-62" fmla="*/ 3130454 h 3139345"/>
              <a:gd name="connsiteX1-63" fmla="*/ 9467 w 3583247"/>
              <a:gd name="connsiteY1-64" fmla="*/ 1021080 h 3139345"/>
              <a:gd name="connsiteX2-65" fmla="*/ 3583247 w 3583247"/>
              <a:gd name="connsiteY2-66" fmla="*/ 0 h 3139345"/>
              <a:gd name="connsiteX3-67" fmla="*/ 3578513 w 3583247"/>
              <a:gd name="connsiteY3-68" fmla="*/ 3139345 h 3139345"/>
              <a:gd name="connsiteX4-69" fmla="*/ 1011948 w 3583247"/>
              <a:gd name="connsiteY4-70" fmla="*/ 3134611 h 3139345"/>
              <a:gd name="connsiteX5-71" fmla="*/ 0 w 3583247"/>
              <a:gd name="connsiteY5-72" fmla="*/ 3130454 h 3139345"/>
              <a:gd name="connsiteX0-73" fmla="*/ 0 w 3583247"/>
              <a:gd name="connsiteY0-74" fmla="*/ 2736231 h 3139345"/>
              <a:gd name="connsiteX1-75" fmla="*/ 9467 w 3583247"/>
              <a:gd name="connsiteY1-76" fmla="*/ 1021080 h 3139345"/>
              <a:gd name="connsiteX2-77" fmla="*/ 3583247 w 3583247"/>
              <a:gd name="connsiteY2-78" fmla="*/ 0 h 3139345"/>
              <a:gd name="connsiteX3-79" fmla="*/ 3578513 w 3583247"/>
              <a:gd name="connsiteY3-80" fmla="*/ 3139345 h 3139345"/>
              <a:gd name="connsiteX4-81" fmla="*/ 1011948 w 3583247"/>
              <a:gd name="connsiteY4-82" fmla="*/ 3134611 h 3139345"/>
              <a:gd name="connsiteX5-83" fmla="*/ 0 w 3583247"/>
              <a:gd name="connsiteY5-84" fmla="*/ 2736231 h 3139345"/>
              <a:gd name="connsiteX0-85" fmla="*/ 0 w 3583247"/>
              <a:gd name="connsiteY0-86" fmla="*/ 2736231 h 3139345"/>
              <a:gd name="connsiteX1-87" fmla="*/ 9467 w 3583247"/>
              <a:gd name="connsiteY1-88" fmla="*/ 1021080 h 3139345"/>
              <a:gd name="connsiteX2-89" fmla="*/ 3583247 w 3583247"/>
              <a:gd name="connsiteY2-90" fmla="*/ 0 h 3139345"/>
              <a:gd name="connsiteX3-91" fmla="*/ 3578513 w 3583247"/>
              <a:gd name="connsiteY3-92" fmla="*/ 3139345 h 3139345"/>
              <a:gd name="connsiteX4-93" fmla="*/ 1448410 w 3583247"/>
              <a:gd name="connsiteY4-94" fmla="*/ 2740388 h 3139345"/>
              <a:gd name="connsiteX5-95" fmla="*/ 0 w 3583247"/>
              <a:gd name="connsiteY5-96" fmla="*/ 2736231 h 3139345"/>
              <a:gd name="connsiteX0-97" fmla="*/ 0 w 3583247"/>
              <a:gd name="connsiteY0-98" fmla="*/ 2736231 h 2740388"/>
              <a:gd name="connsiteX1-99" fmla="*/ 9467 w 3583247"/>
              <a:gd name="connsiteY1-100" fmla="*/ 1021080 h 2740388"/>
              <a:gd name="connsiteX2-101" fmla="*/ 3583247 w 3583247"/>
              <a:gd name="connsiteY2-102" fmla="*/ 0 h 2740388"/>
              <a:gd name="connsiteX3-103" fmla="*/ 3557394 w 3583247"/>
              <a:gd name="connsiteY3-104" fmla="*/ 2738082 h 2740388"/>
              <a:gd name="connsiteX4-105" fmla="*/ 1448410 w 3583247"/>
              <a:gd name="connsiteY4-106" fmla="*/ 2740388 h 2740388"/>
              <a:gd name="connsiteX5-107" fmla="*/ 0 w 3583247"/>
              <a:gd name="connsiteY5-108" fmla="*/ 2736231 h 2740388"/>
              <a:gd name="connsiteX0-109" fmla="*/ 0 w 3583247"/>
              <a:gd name="connsiteY0-110" fmla="*/ 2736231 h 2745604"/>
              <a:gd name="connsiteX1-111" fmla="*/ 9467 w 3583247"/>
              <a:gd name="connsiteY1-112" fmla="*/ 1021080 h 2745604"/>
              <a:gd name="connsiteX2-113" fmla="*/ 3583247 w 3583247"/>
              <a:gd name="connsiteY2-114" fmla="*/ 0 h 2745604"/>
              <a:gd name="connsiteX3-115" fmla="*/ 3579960 w 3583247"/>
              <a:gd name="connsiteY3-116" fmla="*/ 2745604 h 2745604"/>
              <a:gd name="connsiteX4-117" fmla="*/ 1448410 w 3583247"/>
              <a:gd name="connsiteY4-118" fmla="*/ 2740388 h 2745604"/>
              <a:gd name="connsiteX5-119" fmla="*/ 0 w 3583247"/>
              <a:gd name="connsiteY5-120" fmla="*/ 2736231 h 274560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6" name="Forma libre 5"/>
          <p:cNvSpPr/>
          <p:nvPr userDrawn="1"/>
        </p:nvSpPr>
        <p:spPr>
          <a:xfrm>
            <a:off x="-92286" y="20016"/>
            <a:ext cx="8259460" cy="6970525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50901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3106210 h 5151120"/>
              <a:gd name="connsiteX4-9" fmla="*/ 0 w 3589020"/>
              <a:gd name="connsiteY4-10" fmla="*/ 5151120 h 5151120"/>
              <a:gd name="connsiteX5-11" fmla="*/ 15240 w 3589020"/>
              <a:gd name="connsiteY5-12" fmla="*/ 5090160 h 5151120"/>
              <a:gd name="connsiteX0-13" fmla="*/ 15240 w 3589020"/>
              <a:gd name="connsiteY0-14" fmla="*/ 3040516 h 5151120"/>
              <a:gd name="connsiteX1-15" fmla="*/ 15240 w 3589020"/>
              <a:gd name="connsiteY1-16" fmla="*/ 1021080 h 5151120"/>
              <a:gd name="connsiteX2-17" fmla="*/ 3589020 w 3589020"/>
              <a:gd name="connsiteY2-18" fmla="*/ 0 h 5151120"/>
              <a:gd name="connsiteX3-19" fmla="*/ 3589020 w 3589020"/>
              <a:gd name="connsiteY3-20" fmla="*/ 3106210 h 5151120"/>
              <a:gd name="connsiteX4-21" fmla="*/ 0 w 3589020"/>
              <a:gd name="connsiteY4-22" fmla="*/ 5151120 h 5151120"/>
              <a:gd name="connsiteX5-23" fmla="*/ 15240 w 3589020"/>
              <a:gd name="connsiteY5-24" fmla="*/ 3040516 h 5151120"/>
              <a:gd name="connsiteX0-25" fmla="*/ 0 w 3573780"/>
              <a:gd name="connsiteY0-26" fmla="*/ 3040516 h 3106210"/>
              <a:gd name="connsiteX1-27" fmla="*/ 0 w 3573780"/>
              <a:gd name="connsiteY1-28" fmla="*/ 1021080 h 3106210"/>
              <a:gd name="connsiteX2-29" fmla="*/ 3573780 w 3573780"/>
              <a:gd name="connsiteY2-30" fmla="*/ 0 h 3106210"/>
              <a:gd name="connsiteX3-31" fmla="*/ 3573780 w 3573780"/>
              <a:gd name="connsiteY3-32" fmla="*/ 3106210 h 3106210"/>
              <a:gd name="connsiteX4-33" fmla="*/ 955145 w 3573780"/>
              <a:gd name="connsiteY4-34" fmla="*/ 3068341 h 3106210"/>
              <a:gd name="connsiteX5-35" fmla="*/ 0 w 3573780"/>
              <a:gd name="connsiteY5-36" fmla="*/ 3040516 h 3106210"/>
              <a:gd name="connsiteX0-37" fmla="*/ 0 w 3583247"/>
              <a:gd name="connsiteY0-38" fmla="*/ 3130454 h 3130454"/>
              <a:gd name="connsiteX1-39" fmla="*/ 9467 w 3583247"/>
              <a:gd name="connsiteY1-40" fmla="*/ 1021080 h 3130454"/>
              <a:gd name="connsiteX2-41" fmla="*/ 3583247 w 3583247"/>
              <a:gd name="connsiteY2-42" fmla="*/ 0 h 3130454"/>
              <a:gd name="connsiteX3-43" fmla="*/ 3583247 w 3583247"/>
              <a:gd name="connsiteY3-44" fmla="*/ 3106210 h 3130454"/>
              <a:gd name="connsiteX4-45" fmla="*/ 964612 w 3583247"/>
              <a:gd name="connsiteY4-46" fmla="*/ 3068341 h 3130454"/>
              <a:gd name="connsiteX5-47" fmla="*/ 0 w 3583247"/>
              <a:gd name="connsiteY5-48" fmla="*/ 3130454 h 3130454"/>
              <a:gd name="connsiteX0-49" fmla="*/ 0 w 3583247"/>
              <a:gd name="connsiteY0-50" fmla="*/ 3130454 h 3134611"/>
              <a:gd name="connsiteX1-51" fmla="*/ 9467 w 3583247"/>
              <a:gd name="connsiteY1-52" fmla="*/ 1021080 h 3134611"/>
              <a:gd name="connsiteX2-53" fmla="*/ 3583247 w 3583247"/>
              <a:gd name="connsiteY2-54" fmla="*/ 0 h 3134611"/>
              <a:gd name="connsiteX3-55" fmla="*/ 3583247 w 3583247"/>
              <a:gd name="connsiteY3-56" fmla="*/ 3106210 h 3134611"/>
              <a:gd name="connsiteX4-57" fmla="*/ 1011948 w 3583247"/>
              <a:gd name="connsiteY4-58" fmla="*/ 3134611 h 3134611"/>
              <a:gd name="connsiteX5-59" fmla="*/ 0 w 3583247"/>
              <a:gd name="connsiteY5-60" fmla="*/ 3130454 h 3134611"/>
              <a:gd name="connsiteX0-61" fmla="*/ 0 w 3583247"/>
              <a:gd name="connsiteY0-62" fmla="*/ 3130454 h 3139345"/>
              <a:gd name="connsiteX1-63" fmla="*/ 9467 w 3583247"/>
              <a:gd name="connsiteY1-64" fmla="*/ 1021080 h 3139345"/>
              <a:gd name="connsiteX2-65" fmla="*/ 3583247 w 3583247"/>
              <a:gd name="connsiteY2-66" fmla="*/ 0 h 3139345"/>
              <a:gd name="connsiteX3-67" fmla="*/ 3578513 w 3583247"/>
              <a:gd name="connsiteY3-68" fmla="*/ 3139345 h 3139345"/>
              <a:gd name="connsiteX4-69" fmla="*/ 1011948 w 3583247"/>
              <a:gd name="connsiteY4-70" fmla="*/ 3134611 h 3139345"/>
              <a:gd name="connsiteX5-71" fmla="*/ 0 w 3583247"/>
              <a:gd name="connsiteY5-72" fmla="*/ 3130454 h 313934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3" name="Marcador de texto 2"/>
          <p:cNvSpPr>
            <a:spLocks noGrp="1"/>
          </p:cNvSpPr>
          <p:nvPr>
            <p:ph type="body" sz="quarter" idx="10" hasCustomPrompt="1"/>
          </p:nvPr>
        </p:nvSpPr>
        <p:spPr>
          <a:xfrm>
            <a:off x="336000" y="2444755"/>
            <a:ext cx="5760000" cy="35771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Capí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anose="020B0604020202020204" pitchFamily="34" charset="0"/>
              <a:buNone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9" name="Forma libre 8"/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5"/>
            </a:p>
          </p:txBody>
        </p:sp>
        <p:sp>
          <p:nvSpPr>
            <p:cNvPr id="10" name="Triángulo 10"/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-1" fmla="*/ 0 w 2300400"/>
                <a:gd name="connsiteY0-2" fmla="*/ 302400 h 302400"/>
                <a:gd name="connsiteX1-3" fmla="*/ 2300400 w 2300400"/>
                <a:gd name="connsiteY1-4" fmla="*/ 0 h 302400"/>
                <a:gd name="connsiteX2-5" fmla="*/ 2282400 w 2300400"/>
                <a:gd name="connsiteY2-6" fmla="*/ 302400 h 302400"/>
                <a:gd name="connsiteX3-7" fmla="*/ 0 w 2300400"/>
                <a:gd name="connsiteY3-8" fmla="*/ 302400 h 302400"/>
                <a:gd name="connsiteX0-9" fmla="*/ 0 w 1026000"/>
                <a:gd name="connsiteY0-10" fmla="*/ 295200 h 302400"/>
                <a:gd name="connsiteX1-11" fmla="*/ 1026000 w 1026000"/>
                <a:gd name="connsiteY1-12" fmla="*/ 0 h 302400"/>
                <a:gd name="connsiteX2-13" fmla="*/ 1008000 w 1026000"/>
                <a:gd name="connsiteY2-14" fmla="*/ 302400 h 302400"/>
                <a:gd name="connsiteX3-15" fmla="*/ 0 w 1026000"/>
                <a:gd name="connsiteY3-16" fmla="*/ 295200 h 302400"/>
                <a:gd name="connsiteX0-17" fmla="*/ 0 w 1083150"/>
                <a:gd name="connsiteY0-18" fmla="*/ 307900 h 315100"/>
                <a:gd name="connsiteX1-19" fmla="*/ 1083150 w 1083150"/>
                <a:gd name="connsiteY1-20" fmla="*/ 0 h 315100"/>
                <a:gd name="connsiteX2-21" fmla="*/ 1008000 w 1083150"/>
                <a:gd name="connsiteY2-22" fmla="*/ 315100 h 315100"/>
                <a:gd name="connsiteX3-23" fmla="*/ 0 w 1083150"/>
                <a:gd name="connsiteY3-24" fmla="*/ 307900 h 315100"/>
                <a:gd name="connsiteX0-25" fmla="*/ 0 w 1083150"/>
                <a:gd name="connsiteY0-26" fmla="*/ 307900 h 315100"/>
                <a:gd name="connsiteX1-27" fmla="*/ 1083150 w 1083150"/>
                <a:gd name="connsiteY1-28" fmla="*/ 0 h 315100"/>
                <a:gd name="connsiteX2-29" fmla="*/ 1074675 w 1083150"/>
                <a:gd name="connsiteY2-30" fmla="*/ 315100 h 315100"/>
                <a:gd name="connsiteX3-31" fmla="*/ 0 w 1083150"/>
                <a:gd name="connsiteY3-32" fmla="*/ 307900 h 315100"/>
                <a:gd name="connsiteX0-33" fmla="*/ 0 w 1083150"/>
                <a:gd name="connsiteY0-34" fmla="*/ 307900 h 318275"/>
                <a:gd name="connsiteX1-35" fmla="*/ 1083150 w 1083150"/>
                <a:gd name="connsiteY1-36" fmla="*/ 0 h 318275"/>
                <a:gd name="connsiteX2-37" fmla="*/ 1081025 w 1083150"/>
                <a:gd name="connsiteY2-38" fmla="*/ 318275 h 318275"/>
                <a:gd name="connsiteX3-39" fmla="*/ 0 w 1083150"/>
                <a:gd name="connsiteY3-40" fmla="*/ 307900 h 3182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sp>
        <p:nvSpPr>
          <p:cNvPr id="13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anose="020B0604020202020204" pitchFamily="34" charset="0"/>
              <a:buNone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9" name="Forma libre 8"/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5"/>
            </a:p>
          </p:txBody>
        </p:sp>
        <p:sp>
          <p:nvSpPr>
            <p:cNvPr id="10" name="Triángulo 10"/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-1" fmla="*/ 0 w 2300400"/>
                <a:gd name="connsiteY0-2" fmla="*/ 302400 h 302400"/>
                <a:gd name="connsiteX1-3" fmla="*/ 2300400 w 2300400"/>
                <a:gd name="connsiteY1-4" fmla="*/ 0 h 302400"/>
                <a:gd name="connsiteX2-5" fmla="*/ 2282400 w 2300400"/>
                <a:gd name="connsiteY2-6" fmla="*/ 302400 h 302400"/>
                <a:gd name="connsiteX3-7" fmla="*/ 0 w 2300400"/>
                <a:gd name="connsiteY3-8" fmla="*/ 302400 h 302400"/>
                <a:gd name="connsiteX0-9" fmla="*/ 0 w 1026000"/>
                <a:gd name="connsiteY0-10" fmla="*/ 295200 h 302400"/>
                <a:gd name="connsiteX1-11" fmla="*/ 1026000 w 1026000"/>
                <a:gd name="connsiteY1-12" fmla="*/ 0 h 302400"/>
                <a:gd name="connsiteX2-13" fmla="*/ 1008000 w 1026000"/>
                <a:gd name="connsiteY2-14" fmla="*/ 302400 h 302400"/>
                <a:gd name="connsiteX3-15" fmla="*/ 0 w 1026000"/>
                <a:gd name="connsiteY3-16" fmla="*/ 295200 h 302400"/>
                <a:gd name="connsiteX0-17" fmla="*/ 0 w 1083150"/>
                <a:gd name="connsiteY0-18" fmla="*/ 307900 h 315100"/>
                <a:gd name="connsiteX1-19" fmla="*/ 1083150 w 1083150"/>
                <a:gd name="connsiteY1-20" fmla="*/ 0 h 315100"/>
                <a:gd name="connsiteX2-21" fmla="*/ 1008000 w 1083150"/>
                <a:gd name="connsiteY2-22" fmla="*/ 315100 h 315100"/>
                <a:gd name="connsiteX3-23" fmla="*/ 0 w 1083150"/>
                <a:gd name="connsiteY3-24" fmla="*/ 307900 h 315100"/>
                <a:gd name="connsiteX0-25" fmla="*/ 0 w 1083150"/>
                <a:gd name="connsiteY0-26" fmla="*/ 307900 h 315100"/>
                <a:gd name="connsiteX1-27" fmla="*/ 1083150 w 1083150"/>
                <a:gd name="connsiteY1-28" fmla="*/ 0 h 315100"/>
                <a:gd name="connsiteX2-29" fmla="*/ 1074675 w 1083150"/>
                <a:gd name="connsiteY2-30" fmla="*/ 315100 h 315100"/>
                <a:gd name="connsiteX3-31" fmla="*/ 0 w 1083150"/>
                <a:gd name="connsiteY3-32" fmla="*/ 307900 h 315100"/>
                <a:gd name="connsiteX0-33" fmla="*/ 0 w 1083150"/>
                <a:gd name="connsiteY0-34" fmla="*/ 307900 h 318275"/>
                <a:gd name="connsiteX1-35" fmla="*/ 1083150 w 1083150"/>
                <a:gd name="connsiteY1-36" fmla="*/ 0 h 318275"/>
                <a:gd name="connsiteX2-37" fmla="*/ 1081025 w 1083150"/>
                <a:gd name="connsiteY2-38" fmla="*/ 318275 h 318275"/>
                <a:gd name="connsiteX3-39" fmla="*/ 0 w 1083150"/>
                <a:gd name="connsiteY3-40" fmla="*/ 307900 h 3182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3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anose="020B0604020202020204" pitchFamily="34" charset="0"/>
              <a:buNone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9" name="Forma libre 8"/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5"/>
            </a:p>
          </p:txBody>
        </p:sp>
        <p:sp>
          <p:nvSpPr>
            <p:cNvPr id="10" name="Triángulo 10"/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-1" fmla="*/ 0 w 2300400"/>
                <a:gd name="connsiteY0-2" fmla="*/ 302400 h 302400"/>
                <a:gd name="connsiteX1-3" fmla="*/ 2300400 w 2300400"/>
                <a:gd name="connsiteY1-4" fmla="*/ 0 h 302400"/>
                <a:gd name="connsiteX2-5" fmla="*/ 2282400 w 2300400"/>
                <a:gd name="connsiteY2-6" fmla="*/ 302400 h 302400"/>
                <a:gd name="connsiteX3-7" fmla="*/ 0 w 2300400"/>
                <a:gd name="connsiteY3-8" fmla="*/ 302400 h 302400"/>
                <a:gd name="connsiteX0-9" fmla="*/ 0 w 1026000"/>
                <a:gd name="connsiteY0-10" fmla="*/ 295200 h 302400"/>
                <a:gd name="connsiteX1-11" fmla="*/ 1026000 w 1026000"/>
                <a:gd name="connsiteY1-12" fmla="*/ 0 h 302400"/>
                <a:gd name="connsiteX2-13" fmla="*/ 1008000 w 1026000"/>
                <a:gd name="connsiteY2-14" fmla="*/ 302400 h 302400"/>
                <a:gd name="connsiteX3-15" fmla="*/ 0 w 1026000"/>
                <a:gd name="connsiteY3-16" fmla="*/ 295200 h 302400"/>
                <a:gd name="connsiteX0-17" fmla="*/ 0 w 1083150"/>
                <a:gd name="connsiteY0-18" fmla="*/ 307900 h 315100"/>
                <a:gd name="connsiteX1-19" fmla="*/ 1083150 w 1083150"/>
                <a:gd name="connsiteY1-20" fmla="*/ 0 h 315100"/>
                <a:gd name="connsiteX2-21" fmla="*/ 1008000 w 1083150"/>
                <a:gd name="connsiteY2-22" fmla="*/ 315100 h 315100"/>
                <a:gd name="connsiteX3-23" fmla="*/ 0 w 1083150"/>
                <a:gd name="connsiteY3-24" fmla="*/ 307900 h 315100"/>
                <a:gd name="connsiteX0-25" fmla="*/ 0 w 1083150"/>
                <a:gd name="connsiteY0-26" fmla="*/ 307900 h 315100"/>
                <a:gd name="connsiteX1-27" fmla="*/ 1083150 w 1083150"/>
                <a:gd name="connsiteY1-28" fmla="*/ 0 h 315100"/>
                <a:gd name="connsiteX2-29" fmla="*/ 1074675 w 1083150"/>
                <a:gd name="connsiteY2-30" fmla="*/ 315100 h 315100"/>
                <a:gd name="connsiteX3-31" fmla="*/ 0 w 1083150"/>
                <a:gd name="connsiteY3-32" fmla="*/ 307900 h 315100"/>
                <a:gd name="connsiteX0-33" fmla="*/ 0 w 1083150"/>
                <a:gd name="connsiteY0-34" fmla="*/ 307900 h 318275"/>
                <a:gd name="connsiteX1-35" fmla="*/ 1083150 w 1083150"/>
                <a:gd name="connsiteY1-36" fmla="*/ 0 h 318275"/>
                <a:gd name="connsiteX2-37" fmla="*/ 1081025 w 1083150"/>
                <a:gd name="connsiteY2-38" fmla="*/ 318275 h 318275"/>
                <a:gd name="connsiteX3-39" fmla="*/ 0 w 1083150"/>
                <a:gd name="connsiteY3-40" fmla="*/ 307900 h 3182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sp>
        <p:nvSpPr>
          <p:cNvPr id="13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0" i="0">
                <a:solidFill>
                  <a:srgbClr val="1A3A46"/>
                </a:solidFill>
                <a:latin typeface="Ebrima" panose="02000000000000000000"/>
                <a:cs typeface="Ebrima" panose="02000000000000000000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4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50" b="0" i="0">
                <a:solidFill>
                  <a:schemeClr val="bg1"/>
                </a:solidFill>
                <a:latin typeface="Microsoft YaHei UI" panose="020B0503020204020204" charset="-122"/>
                <a:cs typeface="Microsoft YaHei UI" panose="020B0503020204020204" charset="-122"/>
              </a:defRPr>
            </a:lvl1pPr>
          </a:lstStyle>
          <a:p>
            <a:pPr marL="25400">
              <a:lnSpc>
                <a:spcPct val="100000"/>
              </a:lnSpc>
              <a:spcBef>
                <a:spcPts val="135"/>
              </a:spcBef>
            </a:pPr>
            <a:fld id="{81D60167-4931-47E6-BA6A-407CBD079E47}" type="slidenum">
              <a:rPr spc="10" dirty="0"/>
              <a:t>‹N°›</a:t>
            </a:fld>
            <a:endParaRPr spc="10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dic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12700" imgH="12700" progId="TCLayout.ActiveDocument.1">
                  <p:embed/>
                </p:oleObj>
              </mc:Choice>
              <mc:Fallback>
                <p:oleObj name="Diapositiva de think-cell" r:id="rId3" imgW="12700" imgH="12700" progId="TCLayout.ActiveDocument.1">
                  <p:embed/>
                  <p:pic>
                    <p:nvPicPr>
                      <p:cNvPr id="0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336000" y="645584"/>
            <a:ext cx="11017800" cy="863601"/>
          </a:xfrm>
          <a:prstGeom prst="rect">
            <a:avLst/>
          </a:prstGeom>
        </p:spPr>
        <p:txBody>
          <a:bodyPr lIns="0" tIns="0" rIns="0" bIns="0"/>
          <a:lstStyle>
            <a:lvl1pPr>
              <a:defRPr sz="2665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020299" y="6342714"/>
            <a:ext cx="1291167" cy="13428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65">
                <a:solidFill>
                  <a:schemeClr val="tx1"/>
                </a:solidFill>
                <a:latin typeface="Soho Gothic Pro" panose="020B0503030504020204" pitchFamily="34" charset="77"/>
              </a:defRPr>
            </a:lvl1pPr>
          </a:lstStyle>
          <a:p>
            <a:fld id="{A5078871-D93F-4D40-B540-DC74CFDF655C}" type="slidenum">
              <a:rPr lang="es-ES" smtClean="0"/>
              <a:t>‹N°›</a:t>
            </a:fld>
            <a:endParaRPr lang="es-ES" dirty="0"/>
          </a:p>
        </p:txBody>
      </p:sp>
      <p:sp>
        <p:nvSpPr>
          <p:cNvPr id="5" name="Forma libre 4"/>
          <p:cNvSpPr/>
          <p:nvPr userDrawn="1"/>
        </p:nvSpPr>
        <p:spPr>
          <a:xfrm>
            <a:off x="4328251" y="2232949"/>
            <a:ext cx="7939453" cy="4757592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50901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3106210 h 5151120"/>
              <a:gd name="connsiteX4-9" fmla="*/ 0 w 3589020"/>
              <a:gd name="connsiteY4-10" fmla="*/ 5151120 h 5151120"/>
              <a:gd name="connsiteX5-11" fmla="*/ 15240 w 3589020"/>
              <a:gd name="connsiteY5-12" fmla="*/ 5090160 h 5151120"/>
              <a:gd name="connsiteX0-13" fmla="*/ 15240 w 3589020"/>
              <a:gd name="connsiteY0-14" fmla="*/ 3040516 h 5151120"/>
              <a:gd name="connsiteX1-15" fmla="*/ 15240 w 3589020"/>
              <a:gd name="connsiteY1-16" fmla="*/ 1021080 h 5151120"/>
              <a:gd name="connsiteX2-17" fmla="*/ 3589020 w 3589020"/>
              <a:gd name="connsiteY2-18" fmla="*/ 0 h 5151120"/>
              <a:gd name="connsiteX3-19" fmla="*/ 3589020 w 3589020"/>
              <a:gd name="connsiteY3-20" fmla="*/ 3106210 h 5151120"/>
              <a:gd name="connsiteX4-21" fmla="*/ 0 w 3589020"/>
              <a:gd name="connsiteY4-22" fmla="*/ 5151120 h 5151120"/>
              <a:gd name="connsiteX5-23" fmla="*/ 15240 w 3589020"/>
              <a:gd name="connsiteY5-24" fmla="*/ 3040516 h 5151120"/>
              <a:gd name="connsiteX0-25" fmla="*/ 0 w 3573780"/>
              <a:gd name="connsiteY0-26" fmla="*/ 3040516 h 3106210"/>
              <a:gd name="connsiteX1-27" fmla="*/ 0 w 3573780"/>
              <a:gd name="connsiteY1-28" fmla="*/ 1021080 h 3106210"/>
              <a:gd name="connsiteX2-29" fmla="*/ 3573780 w 3573780"/>
              <a:gd name="connsiteY2-30" fmla="*/ 0 h 3106210"/>
              <a:gd name="connsiteX3-31" fmla="*/ 3573780 w 3573780"/>
              <a:gd name="connsiteY3-32" fmla="*/ 3106210 h 3106210"/>
              <a:gd name="connsiteX4-33" fmla="*/ 955145 w 3573780"/>
              <a:gd name="connsiteY4-34" fmla="*/ 3068341 h 3106210"/>
              <a:gd name="connsiteX5-35" fmla="*/ 0 w 3573780"/>
              <a:gd name="connsiteY5-36" fmla="*/ 3040516 h 3106210"/>
              <a:gd name="connsiteX0-37" fmla="*/ 0 w 3583247"/>
              <a:gd name="connsiteY0-38" fmla="*/ 3130454 h 3130454"/>
              <a:gd name="connsiteX1-39" fmla="*/ 9467 w 3583247"/>
              <a:gd name="connsiteY1-40" fmla="*/ 1021080 h 3130454"/>
              <a:gd name="connsiteX2-41" fmla="*/ 3583247 w 3583247"/>
              <a:gd name="connsiteY2-42" fmla="*/ 0 h 3130454"/>
              <a:gd name="connsiteX3-43" fmla="*/ 3583247 w 3583247"/>
              <a:gd name="connsiteY3-44" fmla="*/ 3106210 h 3130454"/>
              <a:gd name="connsiteX4-45" fmla="*/ 964612 w 3583247"/>
              <a:gd name="connsiteY4-46" fmla="*/ 3068341 h 3130454"/>
              <a:gd name="connsiteX5-47" fmla="*/ 0 w 3583247"/>
              <a:gd name="connsiteY5-48" fmla="*/ 3130454 h 3130454"/>
              <a:gd name="connsiteX0-49" fmla="*/ 0 w 3583247"/>
              <a:gd name="connsiteY0-50" fmla="*/ 3130454 h 3134611"/>
              <a:gd name="connsiteX1-51" fmla="*/ 9467 w 3583247"/>
              <a:gd name="connsiteY1-52" fmla="*/ 1021080 h 3134611"/>
              <a:gd name="connsiteX2-53" fmla="*/ 3583247 w 3583247"/>
              <a:gd name="connsiteY2-54" fmla="*/ 0 h 3134611"/>
              <a:gd name="connsiteX3-55" fmla="*/ 3583247 w 3583247"/>
              <a:gd name="connsiteY3-56" fmla="*/ 3106210 h 3134611"/>
              <a:gd name="connsiteX4-57" fmla="*/ 1011948 w 3583247"/>
              <a:gd name="connsiteY4-58" fmla="*/ 3134611 h 3134611"/>
              <a:gd name="connsiteX5-59" fmla="*/ 0 w 3583247"/>
              <a:gd name="connsiteY5-60" fmla="*/ 3130454 h 3134611"/>
              <a:gd name="connsiteX0-61" fmla="*/ 0 w 3583247"/>
              <a:gd name="connsiteY0-62" fmla="*/ 3130454 h 3139345"/>
              <a:gd name="connsiteX1-63" fmla="*/ 9467 w 3583247"/>
              <a:gd name="connsiteY1-64" fmla="*/ 1021080 h 3139345"/>
              <a:gd name="connsiteX2-65" fmla="*/ 3583247 w 3583247"/>
              <a:gd name="connsiteY2-66" fmla="*/ 0 h 3139345"/>
              <a:gd name="connsiteX3-67" fmla="*/ 3578513 w 3583247"/>
              <a:gd name="connsiteY3-68" fmla="*/ 3139345 h 3139345"/>
              <a:gd name="connsiteX4-69" fmla="*/ 1011948 w 3583247"/>
              <a:gd name="connsiteY4-70" fmla="*/ 3134611 h 3139345"/>
              <a:gd name="connsiteX5-71" fmla="*/ 0 w 3583247"/>
              <a:gd name="connsiteY5-72" fmla="*/ 3130454 h 3139345"/>
              <a:gd name="connsiteX0-73" fmla="*/ 0 w 3575725"/>
              <a:gd name="connsiteY0-74" fmla="*/ 2126285 h 3139345"/>
              <a:gd name="connsiteX1-75" fmla="*/ 1945 w 3575725"/>
              <a:gd name="connsiteY1-76" fmla="*/ 1021080 h 3139345"/>
              <a:gd name="connsiteX2-77" fmla="*/ 3575725 w 3575725"/>
              <a:gd name="connsiteY2-78" fmla="*/ 0 h 3139345"/>
              <a:gd name="connsiteX3-79" fmla="*/ 3570991 w 3575725"/>
              <a:gd name="connsiteY3-80" fmla="*/ 3139345 h 3139345"/>
              <a:gd name="connsiteX4-81" fmla="*/ 1004426 w 3575725"/>
              <a:gd name="connsiteY4-82" fmla="*/ 3134611 h 3139345"/>
              <a:gd name="connsiteX5-83" fmla="*/ 0 w 3575725"/>
              <a:gd name="connsiteY5-84" fmla="*/ 2126285 h 3139345"/>
              <a:gd name="connsiteX0-85" fmla="*/ 0 w 3575725"/>
              <a:gd name="connsiteY0-86" fmla="*/ 2126285 h 3139345"/>
              <a:gd name="connsiteX1-87" fmla="*/ 1945 w 3575725"/>
              <a:gd name="connsiteY1-88" fmla="*/ 1021080 h 3139345"/>
              <a:gd name="connsiteX2-89" fmla="*/ 3575725 w 3575725"/>
              <a:gd name="connsiteY2-90" fmla="*/ 0 h 3139345"/>
              <a:gd name="connsiteX3-91" fmla="*/ 3570991 w 3575725"/>
              <a:gd name="connsiteY3-92" fmla="*/ 3139345 h 3139345"/>
              <a:gd name="connsiteX4-93" fmla="*/ 2606583 w 3575725"/>
              <a:gd name="connsiteY4-94" fmla="*/ 2141725 h 3139345"/>
              <a:gd name="connsiteX5-95" fmla="*/ 0 w 3575725"/>
              <a:gd name="connsiteY5-96" fmla="*/ 2126285 h 3139345"/>
              <a:gd name="connsiteX0-97" fmla="*/ 0 w 3575725"/>
              <a:gd name="connsiteY0-98" fmla="*/ 2126285 h 2142697"/>
              <a:gd name="connsiteX1-99" fmla="*/ 1945 w 3575725"/>
              <a:gd name="connsiteY1-100" fmla="*/ 1021080 h 2142697"/>
              <a:gd name="connsiteX2-101" fmla="*/ 3575725 w 3575725"/>
              <a:gd name="connsiteY2-102" fmla="*/ 0 h 2142697"/>
              <a:gd name="connsiteX3-103" fmla="*/ 3574752 w 3575725"/>
              <a:gd name="connsiteY3-104" fmla="*/ 2142697 h 2142697"/>
              <a:gd name="connsiteX4-105" fmla="*/ 2606583 w 3575725"/>
              <a:gd name="connsiteY4-106" fmla="*/ 2141725 h 2142697"/>
              <a:gd name="connsiteX5-107" fmla="*/ 0 w 3575725"/>
              <a:gd name="connsiteY5-108" fmla="*/ 2126285 h 21426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6" name="Forma libre 5"/>
          <p:cNvSpPr/>
          <p:nvPr userDrawn="1"/>
        </p:nvSpPr>
        <p:spPr>
          <a:xfrm>
            <a:off x="2796363" y="894269"/>
            <a:ext cx="7956155" cy="6096272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50901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3106210 h 5151120"/>
              <a:gd name="connsiteX4-9" fmla="*/ 0 w 3589020"/>
              <a:gd name="connsiteY4-10" fmla="*/ 5151120 h 5151120"/>
              <a:gd name="connsiteX5-11" fmla="*/ 15240 w 3589020"/>
              <a:gd name="connsiteY5-12" fmla="*/ 5090160 h 5151120"/>
              <a:gd name="connsiteX0-13" fmla="*/ 15240 w 3589020"/>
              <a:gd name="connsiteY0-14" fmla="*/ 3040516 h 5151120"/>
              <a:gd name="connsiteX1-15" fmla="*/ 15240 w 3589020"/>
              <a:gd name="connsiteY1-16" fmla="*/ 1021080 h 5151120"/>
              <a:gd name="connsiteX2-17" fmla="*/ 3589020 w 3589020"/>
              <a:gd name="connsiteY2-18" fmla="*/ 0 h 5151120"/>
              <a:gd name="connsiteX3-19" fmla="*/ 3589020 w 3589020"/>
              <a:gd name="connsiteY3-20" fmla="*/ 3106210 h 5151120"/>
              <a:gd name="connsiteX4-21" fmla="*/ 0 w 3589020"/>
              <a:gd name="connsiteY4-22" fmla="*/ 5151120 h 5151120"/>
              <a:gd name="connsiteX5-23" fmla="*/ 15240 w 3589020"/>
              <a:gd name="connsiteY5-24" fmla="*/ 3040516 h 5151120"/>
              <a:gd name="connsiteX0-25" fmla="*/ 0 w 3573780"/>
              <a:gd name="connsiteY0-26" fmla="*/ 3040516 h 3106210"/>
              <a:gd name="connsiteX1-27" fmla="*/ 0 w 3573780"/>
              <a:gd name="connsiteY1-28" fmla="*/ 1021080 h 3106210"/>
              <a:gd name="connsiteX2-29" fmla="*/ 3573780 w 3573780"/>
              <a:gd name="connsiteY2-30" fmla="*/ 0 h 3106210"/>
              <a:gd name="connsiteX3-31" fmla="*/ 3573780 w 3573780"/>
              <a:gd name="connsiteY3-32" fmla="*/ 3106210 h 3106210"/>
              <a:gd name="connsiteX4-33" fmla="*/ 955145 w 3573780"/>
              <a:gd name="connsiteY4-34" fmla="*/ 3068341 h 3106210"/>
              <a:gd name="connsiteX5-35" fmla="*/ 0 w 3573780"/>
              <a:gd name="connsiteY5-36" fmla="*/ 3040516 h 3106210"/>
              <a:gd name="connsiteX0-37" fmla="*/ 0 w 3583247"/>
              <a:gd name="connsiteY0-38" fmla="*/ 3130454 h 3130454"/>
              <a:gd name="connsiteX1-39" fmla="*/ 9467 w 3583247"/>
              <a:gd name="connsiteY1-40" fmla="*/ 1021080 h 3130454"/>
              <a:gd name="connsiteX2-41" fmla="*/ 3583247 w 3583247"/>
              <a:gd name="connsiteY2-42" fmla="*/ 0 h 3130454"/>
              <a:gd name="connsiteX3-43" fmla="*/ 3583247 w 3583247"/>
              <a:gd name="connsiteY3-44" fmla="*/ 3106210 h 3130454"/>
              <a:gd name="connsiteX4-45" fmla="*/ 964612 w 3583247"/>
              <a:gd name="connsiteY4-46" fmla="*/ 3068341 h 3130454"/>
              <a:gd name="connsiteX5-47" fmla="*/ 0 w 3583247"/>
              <a:gd name="connsiteY5-48" fmla="*/ 3130454 h 3130454"/>
              <a:gd name="connsiteX0-49" fmla="*/ 0 w 3583247"/>
              <a:gd name="connsiteY0-50" fmla="*/ 3130454 h 3134611"/>
              <a:gd name="connsiteX1-51" fmla="*/ 9467 w 3583247"/>
              <a:gd name="connsiteY1-52" fmla="*/ 1021080 h 3134611"/>
              <a:gd name="connsiteX2-53" fmla="*/ 3583247 w 3583247"/>
              <a:gd name="connsiteY2-54" fmla="*/ 0 h 3134611"/>
              <a:gd name="connsiteX3-55" fmla="*/ 3583247 w 3583247"/>
              <a:gd name="connsiteY3-56" fmla="*/ 3106210 h 3134611"/>
              <a:gd name="connsiteX4-57" fmla="*/ 1011948 w 3583247"/>
              <a:gd name="connsiteY4-58" fmla="*/ 3134611 h 3134611"/>
              <a:gd name="connsiteX5-59" fmla="*/ 0 w 3583247"/>
              <a:gd name="connsiteY5-60" fmla="*/ 3130454 h 3134611"/>
              <a:gd name="connsiteX0-61" fmla="*/ 0 w 3583247"/>
              <a:gd name="connsiteY0-62" fmla="*/ 3130454 h 3139345"/>
              <a:gd name="connsiteX1-63" fmla="*/ 9467 w 3583247"/>
              <a:gd name="connsiteY1-64" fmla="*/ 1021080 h 3139345"/>
              <a:gd name="connsiteX2-65" fmla="*/ 3583247 w 3583247"/>
              <a:gd name="connsiteY2-66" fmla="*/ 0 h 3139345"/>
              <a:gd name="connsiteX3-67" fmla="*/ 3578513 w 3583247"/>
              <a:gd name="connsiteY3-68" fmla="*/ 3139345 h 3139345"/>
              <a:gd name="connsiteX4-69" fmla="*/ 1011948 w 3583247"/>
              <a:gd name="connsiteY4-70" fmla="*/ 3134611 h 3139345"/>
              <a:gd name="connsiteX5-71" fmla="*/ 0 w 3583247"/>
              <a:gd name="connsiteY5-72" fmla="*/ 3130454 h 3139345"/>
              <a:gd name="connsiteX0-73" fmla="*/ 0 w 3583247"/>
              <a:gd name="connsiteY0-74" fmla="*/ 2736231 h 3139345"/>
              <a:gd name="connsiteX1-75" fmla="*/ 9467 w 3583247"/>
              <a:gd name="connsiteY1-76" fmla="*/ 1021080 h 3139345"/>
              <a:gd name="connsiteX2-77" fmla="*/ 3583247 w 3583247"/>
              <a:gd name="connsiteY2-78" fmla="*/ 0 h 3139345"/>
              <a:gd name="connsiteX3-79" fmla="*/ 3578513 w 3583247"/>
              <a:gd name="connsiteY3-80" fmla="*/ 3139345 h 3139345"/>
              <a:gd name="connsiteX4-81" fmla="*/ 1011948 w 3583247"/>
              <a:gd name="connsiteY4-82" fmla="*/ 3134611 h 3139345"/>
              <a:gd name="connsiteX5-83" fmla="*/ 0 w 3583247"/>
              <a:gd name="connsiteY5-84" fmla="*/ 2736231 h 3139345"/>
              <a:gd name="connsiteX0-85" fmla="*/ 0 w 3583247"/>
              <a:gd name="connsiteY0-86" fmla="*/ 2736231 h 3139345"/>
              <a:gd name="connsiteX1-87" fmla="*/ 9467 w 3583247"/>
              <a:gd name="connsiteY1-88" fmla="*/ 1021080 h 3139345"/>
              <a:gd name="connsiteX2-89" fmla="*/ 3583247 w 3583247"/>
              <a:gd name="connsiteY2-90" fmla="*/ 0 h 3139345"/>
              <a:gd name="connsiteX3-91" fmla="*/ 3578513 w 3583247"/>
              <a:gd name="connsiteY3-92" fmla="*/ 3139345 h 3139345"/>
              <a:gd name="connsiteX4-93" fmla="*/ 1448410 w 3583247"/>
              <a:gd name="connsiteY4-94" fmla="*/ 2740388 h 3139345"/>
              <a:gd name="connsiteX5-95" fmla="*/ 0 w 3583247"/>
              <a:gd name="connsiteY5-96" fmla="*/ 2736231 h 3139345"/>
              <a:gd name="connsiteX0-97" fmla="*/ 0 w 3583247"/>
              <a:gd name="connsiteY0-98" fmla="*/ 2736231 h 2740388"/>
              <a:gd name="connsiteX1-99" fmla="*/ 9467 w 3583247"/>
              <a:gd name="connsiteY1-100" fmla="*/ 1021080 h 2740388"/>
              <a:gd name="connsiteX2-101" fmla="*/ 3583247 w 3583247"/>
              <a:gd name="connsiteY2-102" fmla="*/ 0 h 2740388"/>
              <a:gd name="connsiteX3-103" fmla="*/ 3557394 w 3583247"/>
              <a:gd name="connsiteY3-104" fmla="*/ 2738082 h 2740388"/>
              <a:gd name="connsiteX4-105" fmla="*/ 1448410 w 3583247"/>
              <a:gd name="connsiteY4-106" fmla="*/ 2740388 h 2740388"/>
              <a:gd name="connsiteX5-107" fmla="*/ 0 w 3583247"/>
              <a:gd name="connsiteY5-108" fmla="*/ 2736231 h 2740388"/>
              <a:gd name="connsiteX0-109" fmla="*/ 0 w 3583247"/>
              <a:gd name="connsiteY0-110" fmla="*/ 2736231 h 2745604"/>
              <a:gd name="connsiteX1-111" fmla="*/ 9467 w 3583247"/>
              <a:gd name="connsiteY1-112" fmla="*/ 1021080 h 2745604"/>
              <a:gd name="connsiteX2-113" fmla="*/ 3583247 w 3583247"/>
              <a:gd name="connsiteY2-114" fmla="*/ 0 h 2745604"/>
              <a:gd name="connsiteX3-115" fmla="*/ 3579960 w 3583247"/>
              <a:gd name="connsiteY3-116" fmla="*/ 2745604 h 2745604"/>
              <a:gd name="connsiteX4-117" fmla="*/ 1448410 w 3583247"/>
              <a:gd name="connsiteY4-118" fmla="*/ 2740388 h 2745604"/>
              <a:gd name="connsiteX5-119" fmla="*/ 0 w 3583247"/>
              <a:gd name="connsiteY5-120" fmla="*/ 2736231 h 274560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8" name="Forma libre 7"/>
          <p:cNvSpPr/>
          <p:nvPr userDrawn="1"/>
        </p:nvSpPr>
        <p:spPr>
          <a:xfrm>
            <a:off x="-92286" y="20016"/>
            <a:ext cx="8259460" cy="6970525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50901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3106210 h 5151120"/>
              <a:gd name="connsiteX4-9" fmla="*/ 0 w 3589020"/>
              <a:gd name="connsiteY4-10" fmla="*/ 5151120 h 5151120"/>
              <a:gd name="connsiteX5-11" fmla="*/ 15240 w 3589020"/>
              <a:gd name="connsiteY5-12" fmla="*/ 5090160 h 5151120"/>
              <a:gd name="connsiteX0-13" fmla="*/ 15240 w 3589020"/>
              <a:gd name="connsiteY0-14" fmla="*/ 3040516 h 5151120"/>
              <a:gd name="connsiteX1-15" fmla="*/ 15240 w 3589020"/>
              <a:gd name="connsiteY1-16" fmla="*/ 1021080 h 5151120"/>
              <a:gd name="connsiteX2-17" fmla="*/ 3589020 w 3589020"/>
              <a:gd name="connsiteY2-18" fmla="*/ 0 h 5151120"/>
              <a:gd name="connsiteX3-19" fmla="*/ 3589020 w 3589020"/>
              <a:gd name="connsiteY3-20" fmla="*/ 3106210 h 5151120"/>
              <a:gd name="connsiteX4-21" fmla="*/ 0 w 3589020"/>
              <a:gd name="connsiteY4-22" fmla="*/ 5151120 h 5151120"/>
              <a:gd name="connsiteX5-23" fmla="*/ 15240 w 3589020"/>
              <a:gd name="connsiteY5-24" fmla="*/ 3040516 h 5151120"/>
              <a:gd name="connsiteX0-25" fmla="*/ 0 w 3573780"/>
              <a:gd name="connsiteY0-26" fmla="*/ 3040516 h 3106210"/>
              <a:gd name="connsiteX1-27" fmla="*/ 0 w 3573780"/>
              <a:gd name="connsiteY1-28" fmla="*/ 1021080 h 3106210"/>
              <a:gd name="connsiteX2-29" fmla="*/ 3573780 w 3573780"/>
              <a:gd name="connsiteY2-30" fmla="*/ 0 h 3106210"/>
              <a:gd name="connsiteX3-31" fmla="*/ 3573780 w 3573780"/>
              <a:gd name="connsiteY3-32" fmla="*/ 3106210 h 3106210"/>
              <a:gd name="connsiteX4-33" fmla="*/ 955145 w 3573780"/>
              <a:gd name="connsiteY4-34" fmla="*/ 3068341 h 3106210"/>
              <a:gd name="connsiteX5-35" fmla="*/ 0 w 3573780"/>
              <a:gd name="connsiteY5-36" fmla="*/ 3040516 h 3106210"/>
              <a:gd name="connsiteX0-37" fmla="*/ 0 w 3583247"/>
              <a:gd name="connsiteY0-38" fmla="*/ 3130454 h 3130454"/>
              <a:gd name="connsiteX1-39" fmla="*/ 9467 w 3583247"/>
              <a:gd name="connsiteY1-40" fmla="*/ 1021080 h 3130454"/>
              <a:gd name="connsiteX2-41" fmla="*/ 3583247 w 3583247"/>
              <a:gd name="connsiteY2-42" fmla="*/ 0 h 3130454"/>
              <a:gd name="connsiteX3-43" fmla="*/ 3583247 w 3583247"/>
              <a:gd name="connsiteY3-44" fmla="*/ 3106210 h 3130454"/>
              <a:gd name="connsiteX4-45" fmla="*/ 964612 w 3583247"/>
              <a:gd name="connsiteY4-46" fmla="*/ 3068341 h 3130454"/>
              <a:gd name="connsiteX5-47" fmla="*/ 0 w 3583247"/>
              <a:gd name="connsiteY5-48" fmla="*/ 3130454 h 3130454"/>
              <a:gd name="connsiteX0-49" fmla="*/ 0 w 3583247"/>
              <a:gd name="connsiteY0-50" fmla="*/ 3130454 h 3134611"/>
              <a:gd name="connsiteX1-51" fmla="*/ 9467 w 3583247"/>
              <a:gd name="connsiteY1-52" fmla="*/ 1021080 h 3134611"/>
              <a:gd name="connsiteX2-53" fmla="*/ 3583247 w 3583247"/>
              <a:gd name="connsiteY2-54" fmla="*/ 0 h 3134611"/>
              <a:gd name="connsiteX3-55" fmla="*/ 3583247 w 3583247"/>
              <a:gd name="connsiteY3-56" fmla="*/ 3106210 h 3134611"/>
              <a:gd name="connsiteX4-57" fmla="*/ 1011948 w 3583247"/>
              <a:gd name="connsiteY4-58" fmla="*/ 3134611 h 3134611"/>
              <a:gd name="connsiteX5-59" fmla="*/ 0 w 3583247"/>
              <a:gd name="connsiteY5-60" fmla="*/ 3130454 h 3134611"/>
              <a:gd name="connsiteX0-61" fmla="*/ 0 w 3583247"/>
              <a:gd name="connsiteY0-62" fmla="*/ 3130454 h 3139345"/>
              <a:gd name="connsiteX1-63" fmla="*/ 9467 w 3583247"/>
              <a:gd name="connsiteY1-64" fmla="*/ 1021080 h 3139345"/>
              <a:gd name="connsiteX2-65" fmla="*/ 3583247 w 3583247"/>
              <a:gd name="connsiteY2-66" fmla="*/ 0 h 3139345"/>
              <a:gd name="connsiteX3-67" fmla="*/ 3578513 w 3583247"/>
              <a:gd name="connsiteY3-68" fmla="*/ 3139345 h 3139345"/>
              <a:gd name="connsiteX4-69" fmla="*/ 1011948 w 3583247"/>
              <a:gd name="connsiteY4-70" fmla="*/ 3134611 h 3139345"/>
              <a:gd name="connsiteX5-71" fmla="*/ 0 w 3583247"/>
              <a:gd name="connsiteY5-72" fmla="*/ 3130454 h 313934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/>
          <a:lstStyle/>
          <a:p>
            <a:endParaRPr lang="es-ES" sz="240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/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10" name="Marcador de contenido 10"/>
          <p:cNvSpPr>
            <a:spLocks noGrp="1"/>
          </p:cNvSpPr>
          <p:nvPr>
            <p:ph sz="quarter" idx="10" hasCustomPrompt="1"/>
          </p:nvPr>
        </p:nvSpPr>
        <p:spPr>
          <a:xfrm>
            <a:off x="336000" y="3770675"/>
            <a:ext cx="5651499" cy="114676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865" dirty="0"/>
            </a:lvl1pPr>
          </a:lstStyle>
          <a:p>
            <a:pPr marL="0" lvl="0" indent="0">
              <a:lnSpc>
                <a:spcPct val="100000"/>
              </a:lnSpc>
              <a:spcBef>
                <a:spcPts val="8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1" y="1592918"/>
            <a:ext cx="7052607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265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8081434" y="1503237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/>
          <a:lstStyle/>
          <a:p>
            <a:endParaRPr lang="es-ES" sz="240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_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0" y="649091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665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edit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81639-A753-4C4C-A366-7AF460A8C327}" type="datetimeFigureOut">
              <a:rPr lang="es-ES" smtClean="0"/>
              <a:t>24/06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F6AC5D-87B6-45C8-B54B-61DA89AD98B3}" type="slidenum">
              <a:rPr lang="es-ES" smtClean="0"/>
              <a:t>‹N°›</a:t>
            </a:fld>
            <a:endParaRPr lang="es-ES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81639-A753-4C4C-A366-7AF460A8C327}" type="datetimeFigureOut">
              <a:rPr lang="es-ES" smtClean="0"/>
              <a:t>24/06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F6AC5D-87B6-45C8-B54B-61DA89AD98B3}" type="slidenum">
              <a:rPr lang="es-ES" smtClean="0"/>
              <a:t>‹N°›</a:t>
            </a:fld>
            <a:endParaRPr lang="es-ES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81639-A753-4C4C-A366-7AF460A8C327}" type="datetimeFigureOut">
              <a:rPr lang="es-ES" smtClean="0"/>
              <a:t>24/06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F6AC5D-87B6-45C8-B54B-61DA89AD98B3}" type="slidenum">
              <a:rPr lang="es-ES" smtClean="0"/>
              <a:t>‹N°›</a:t>
            </a:fld>
            <a:endParaRPr lang="es-E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04837" y="712437"/>
            <a:ext cx="7553833" cy="71458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5330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Gracias!</a:t>
            </a:r>
            <a:endParaRPr lang="en-US" dirty="0"/>
          </a:p>
        </p:txBody>
      </p:sp>
      <p:sp>
        <p:nvSpPr>
          <p:cNvPr id="3" name="Rectángulo 3"/>
          <p:cNvSpPr/>
          <p:nvPr userDrawn="1"/>
        </p:nvSpPr>
        <p:spPr>
          <a:xfrm>
            <a:off x="7744691" y="3699164"/>
            <a:ext cx="2575779" cy="38100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-1" fmla="*/ 0 w 1569027"/>
              <a:gd name="connsiteY0-2" fmla="*/ 0 h 2857500"/>
              <a:gd name="connsiteX1-3" fmla="*/ 1558636 w 1569027"/>
              <a:gd name="connsiteY1-4" fmla="*/ 467591 h 2857500"/>
              <a:gd name="connsiteX2-5" fmla="*/ 1569027 w 1569027"/>
              <a:gd name="connsiteY2-6" fmla="*/ 2857500 h 2857500"/>
              <a:gd name="connsiteX3-7" fmla="*/ 0 w 1569027"/>
              <a:gd name="connsiteY3-8" fmla="*/ 2857500 h 2857500"/>
              <a:gd name="connsiteX4-9" fmla="*/ 0 w 1569027"/>
              <a:gd name="connsiteY4-10" fmla="*/ 0 h 2857500"/>
              <a:gd name="connsiteX0-11" fmla="*/ 0 w 1610767"/>
              <a:gd name="connsiteY0-12" fmla="*/ 0 h 2857500"/>
              <a:gd name="connsiteX1-13" fmla="*/ 1610590 w 1610767"/>
              <a:gd name="connsiteY1-14" fmla="*/ 477982 h 2857500"/>
              <a:gd name="connsiteX2-15" fmla="*/ 1569027 w 1610767"/>
              <a:gd name="connsiteY2-16" fmla="*/ 2857500 h 2857500"/>
              <a:gd name="connsiteX3-17" fmla="*/ 0 w 1610767"/>
              <a:gd name="connsiteY3-18" fmla="*/ 2857500 h 2857500"/>
              <a:gd name="connsiteX4-19" fmla="*/ 0 w 1610767"/>
              <a:gd name="connsiteY4-20" fmla="*/ 0 h 28575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4" name="Rectángulo 4"/>
          <p:cNvSpPr/>
          <p:nvPr userDrawn="1"/>
        </p:nvSpPr>
        <p:spPr>
          <a:xfrm>
            <a:off x="10128451" y="2715495"/>
            <a:ext cx="1010606" cy="4793673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-1" fmla="*/ 0 w 985405"/>
              <a:gd name="connsiteY0-2" fmla="*/ 0 h 3595255"/>
              <a:gd name="connsiteX1-3" fmla="*/ 985405 w 985405"/>
              <a:gd name="connsiteY1-4" fmla="*/ 259773 h 3595255"/>
              <a:gd name="connsiteX2-5" fmla="*/ 985405 w 985405"/>
              <a:gd name="connsiteY2-6" fmla="*/ 3595255 h 3595255"/>
              <a:gd name="connsiteX3-7" fmla="*/ 0 w 985405"/>
              <a:gd name="connsiteY3-8" fmla="*/ 3595255 h 3595255"/>
              <a:gd name="connsiteX4-9" fmla="*/ 0 w 985405"/>
              <a:gd name="connsiteY4-10" fmla="*/ 0 h 359525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5" name="Rectángulo 8"/>
          <p:cNvSpPr/>
          <p:nvPr userDrawn="1"/>
        </p:nvSpPr>
        <p:spPr>
          <a:xfrm>
            <a:off x="10992544" y="1288475"/>
            <a:ext cx="1383028" cy="6220692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-1" fmla="*/ 0 w 1289338"/>
              <a:gd name="connsiteY0-2" fmla="*/ 0 h 4665519"/>
              <a:gd name="connsiteX1-3" fmla="*/ 1278947 w 1289338"/>
              <a:gd name="connsiteY1-4" fmla="*/ 394854 h 4665519"/>
              <a:gd name="connsiteX2-5" fmla="*/ 1289338 w 1289338"/>
              <a:gd name="connsiteY2-6" fmla="*/ 4665519 h 4665519"/>
              <a:gd name="connsiteX3-7" fmla="*/ 0 w 1289338"/>
              <a:gd name="connsiteY3-8" fmla="*/ 4665519 h 4665519"/>
              <a:gd name="connsiteX4-9" fmla="*/ 0 w 1289338"/>
              <a:gd name="connsiteY4-10" fmla="*/ 0 h 466551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81639-A753-4C4C-A366-7AF460A8C327}" type="datetimeFigureOut">
              <a:rPr lang="es-ES" smtClean="0"/>
              <a:t>24/06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F6AC5D-87B6-45C8-B54B-61DA89AD98B3}" type="slidenum">
              <a:rPr lang="es-ES" smtClean="0"/>
              <a:t>‹N°›</a:t>
            </a:fld>
            <a:endParaRPr lang="es-ES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81639-A753-4C4C-A366-7AF460A8C327}" type="datetimeFigureOut">
              <a:rPr lang="es-ES" smtClean="0"/>
              <a:t>24/06/2021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F6AC5D-87B6-45C8-B54B-61DA89AD98B3}" type="slidenum">
              <a:rPr lang="es-ES" smtClean="0"/>
              <a:t>‹N°›</a:t>
            </a:fld>
            <a:endParaRPr lang="es-ES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81639-A753-4C4C-A366-7AF460A8C327}" type="datetimeFigureOut">
              <a:rPr lang="es-ES" smtClean="0"/>
              <a:t>24/06/2021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F6AC5D-87B6-45C8-B54B-61DA89AD98B3}" type="slidenum">
              <a:rPr lang="es-ES" smtClean="0"/>
              <a:t>‹N°›</a:t>
            </a:fld>
            <a:endParaRPr lang="es-ES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81639-A753-4C4C-A366-7AF460A8C327}" type="datetimeFigureOut">
              <a:rPr lang="es-ES" smtClean="0"/>
              <a:t>24/06/2021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F6AC5D-87B6-45C8-B54B-61DA89AD98B3}" type="slidenum">
              <a:rPr lang="es-ES" smtClean="0"/>
              <a:t>‹N°›</a:t>
            </a:fld>
            <a:endParaRPr lang="es-ES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81639-A753-4C4C-A366-7AF460A8C327}" type="datetimeFigureOut">
              <a:rPr lang="es-ES" smtClean="0"/>
              <a:t>24/06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F6AC5D-87B6-45C8-B54B-61DA89AD98B3}" type="slidenum">
              <a:rPr lang="es-ES" smtClean="0"/>
              <a:t>‹N°›</a:t>
            </a:fld>
            <a:endParaRPr lang="es-ES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81639-A753-4C4C-A366-7AF460A8C327}" type="datetimeFigureOut">
              <a:rPr lang="es-ES" smtClean="0"/>
              <a:t>24/06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F6AC5D-87B6-45C8-B54B-61DA89AD98B3}" type="slidenum">
              <a:rPr lang="es-ES" smtClean="0"/>
              <a:t>‹N°›</a:t>
            </a:fld>
            <a:endParaRPr lang="es-ES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81639-A753-4C4C-A366-7AF460A8C327}" type="datetimeFigureOut">
              <a:rPr lang="es-ES" smtClean="0"/>
              <a:t>24/06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F6AC5D-87B6-45C8-B54B-61DA89AD98B3}" type="slidenum">
              <a:rPr lang="es-ES" smtClean="0"/>
              <a:t>‹N°›</a:t>
            </a:fld>
            <a:endParaRPr lang="es-ES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81639-A753-4C4C-A366-7AF460A8C327}" type="datetimeFigureOut">
              <a:rPr lang="es-ES" smtClean="0"/>
              <a:t>24/06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F6AC5D-87B6-45C8-B54B-61DA89AD98B3}" type="slidenum">
              <a:rPr lang="es-ES" smtClean="0"/>
              <a:t>‹N°›</a:t>
            </a:fld>
            <a:endParaRPr lang="es-E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/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0" y="1592921"/>
            <a:ext cx="6951931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/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2" y="1592921"/>
            <a:ext cx="693807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tx1"/>
                </a:solidFill>
              </a:rPr>
              <a:t>‹N°›</a:t>
            </a:fld>
            <a:endParaRPr lang="es-ES" sz="1065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/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tx1"/>
                </a:solidFill>
              </a:rPr>
              <a:t>‹N°›</a:t>
            </a:fld>
            <a:endParaRPr lang="es-ES" sz="1065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/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  <p:sldLayoutId id="2147483691" r:id="rId43"/>
    <p:sldLayoutId id="2147483692" r:id="rId44"/>
    <p:sldLayoutId id="2147483693" r:id="rId45"/>
    <p:sldLayoutId id="2147483694" r:id="rId46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4665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685165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365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65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1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3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895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095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295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5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181639-A753-4C4C-A366-7AF460A8C327}" type="datetimeFigureOut">
              <a:rPr lang="es-ES" smtClean="0"/>
              <a:t>24/06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F6AC5D-87B6-45C8-B54B-61DA89AD98B3}" type="slidenum">
              <a:rPr lang="es-ES" smtClean="0"/>
              <a:t>‹N°›</a:t>
            </a:fld>
            <a:endParaRPr 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31.xml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hostname:port/consommation-services/consommation?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9.xml"/><Relationship Id="rId4" Type="http://schemas.openxmlformats.org/officeDocument/2006/relationships/hyperlink" Target="http://hostname:port/redal/api/redal-process-consommation-services/consommation?codeAller=2212&amp;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hostname:port/consommation-services/consommation?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9.xml"/><Relationship Id="rId4" Type="http://schemas.openxmlformats.org/officeDocument/2006/relationships/hyperlink" Target="http://hostname:port/redal/api/redal-process-consommation-services/consommation?codeAller=2212&amp;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contenido 10"/>
          <p:cNvSpPr>
            <a:spLocks noGrp="1"/>
          </p:cNvSpPr>
          <p:nvPr>
            <p:ph sz="quarter" idx="10"/>
          </p:nvPr>
        </p:nvSpPr>
        <p:spPr>
          <a:xfrm>
            <a:off x="336001" y="4560148"/>
            <a:ext cx="5651500" cy="290408"/>
          </a:xfrm>
        </p:spPr>
        <p:txBody>
          <a:bodyPr/>
          <a:lstStyle/>
          <a:p>
            <a:r>
              <a:rPr lang="es-ES" dirty="0"/>
              <a:t>A</a:t>
            </a:r>
            <a:r>
              <a:rPr lang="fr-FR" dirty="0"/>
              <a:t>gence du développement digital du Maroc</a:t>
            </a:r>
          </a:p>
          <a:p>
            <a:endParaRPr lang="fr-FR" dirty="0"/>
          </a:p>
          <a:p>
            <a:r>
              <a:rPr lang="es-ES" altLang="fr-FR" dirty="0"/>
              <a:t>Avril </a:t>
            </a:r>
            <a:r>
              <a:rPr lang="fr-FR" dirty="0"/>
              <a:t>2021</a:t>
            </a:r>
            <a:endParaRPr lang="es-ES" dirty="0"/>
          </a:p>
          <a:p>
            <a:endParaRPr lang="es-ES" dirty="0"/>
          </a:p>
        </p:txBody>
      </p:sp>
      <p:sp>
        <p:nvSpPr>
          <p:cNvPr id="10" name="Título 9"/>
          <p:cNvSpPr>
            <a:spLocks noGrp="1"/>
          </p:cNvSpPr>
          <p:nvPr>
            <p:ph type="title"/>
          </p:nvPr>
        </p:nvSpPr>
        <p:spPr>
          <a:xfrm>
            <a:off x="272966" y="1803835"/>
            <a:ext cx="6310745" cy="1648341"/>
          </a:xfrm>
        </p:spPr>
        <p:txBody>
          <a:bodyPr/>
          <a:lstStyle/>
          <a:p>
            <a:r>
              <a:rPr lang="es-ES" altLang="fr-FR" sz="3735" dirty="0"/>
              <a:t>D</a:t>
            </a:r>
            <a:r>
              <a:rPr lang="fr-FR" sz="3735" dirty="0"/>
              <a:t>iagramme d'</a:t>
            </a:r>
            <a:r>
              <a:rPr lang="fr-FR" sz="3730" dirty="0">
                <a:sym typeface="+mn-ea"/>
              </a:rPr>
              <a:t>interconnectivité</a:t>
            </a:r>
            <a:r>
              <a:rPr lang="fr-FR" sz="3735" dirty="0"/>
              <a:t> entre les systèmes</a:t>
            </a:r>
          </a:p>
        </p:txBody>
      </p:sp>
      <p:grpSp>
        <p:nvGrpSpPr>
          <p:cNvPr id="12" name="Grupo 11"/>
          <p:cNvGrpSpPr/>
          <p:nvPr/>
        </p:nvGrpSpPr>
        <p:grpSpPr>
          <a:xfrm>
            <a:off x="6846376" y="1344947"/>
            <a:ext cx="2093251" cy="3699933"/>
            <a:chOff x="4700634" y="1022350"/>
            <a:chExt cx="1569938" cy="2774950"/>
          </a:xfrm>
          <a:solidFill>
            <a:schemeClr val="accent2"/>
          </a:solidFill>
        </p:grpSpPr>
        <p:sp>
          <p:nvSpPr>
            <p:cNvPr id="13" name="Rectángulo 6"/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-1" fmla="*/ 0 w 171450"/>
                <a:gd name="connsiteY0-2" fmla="*/ 0 h 2764631"/>
                <a:gd name="connsiteX1-3" fmla="*/ 171450 w 171450"/>
                <a:gd name="connsiteY1-4" fmla="*/ 0 h 2764631"/>
                <a:gd name="connsiteX2-5" fmla="*/ 171450 w 171450"/>
                <a:gd name="connsiteY2-6" fmla="*/ 2707481 h 2764631"/>
                <a:gd name="connsiteX3-7" fmla="*/ 0 w 171450"/>
                <a:gd name="connsiteY3-8" fmla="*/ 2764631 h 2764631"/>
                <a:gd name="connsiteX4-9" fmla="*/ 0 w 171450"/>
                <a:gd name="connsiteY4-10" fmla="*/ 0 h 2764631"/>
                <a:gd name="connsiteX0-11" fmla="*/ 0 w 171450"/>
                <a:gd name="connsiteY0-12" fmla="*/ 0 h 2761456"/>
                <a:gd name="connsiteX1-13" fmla="*/ 171450 w 171450"/>
                <a:gd name="connsiteY1-14" fmla="*/ 0 h 2761456"/>
                <a:gd name="connsiteX2-15" fmla="*/ 171450 w 171450"/>
                <a:gd name="connsiteY2-16" fmla="*/ 2707481 h 2761456"/>
                <a:gd name="connsiteX3-17" fmla="*/ 0 w 171450"/>
                <a:gd name="connsiteY3-18" fmla="*/ 2761456 h 2761456"/>
                <a:gd name="connsiteX4-19" fmla="*/ 0 w 171450"/>
                <a:gd name="connsiteY4-20" fmla="*/ 0 h 2761456"/>
                <a:gd name="connsiteX0-21" fmla="*/ 0 w 171450"/>
                <a:gd name="connsiteY0-22" fmla="*/ 0 h 2761456"/>
                <a:gd name="connsiteX1-23" fmla="*/ 168275 w 171450"/>
                <a:gd name="connsiteY1-24" fmla="*/ 47393 h 2761456"/>
                <a:gd name="connsiteX2-25" fmla="*/ 171450 w 171450"/>
                <a:gd name="connsiteY2-26" fmla="*/ 2707481 h 2761456"/>
                <a:gd name="connsiteX3-27" fmla="*/ 0 w 171450"/>
                <a:gd name="connsiteY3-28" fmla="*/ 2761456 h 2761456"/>
                <a:gd name="connsiteX4-29" fmla="*/ 0 w 171450"/>
                <a:gd name="connsiteY4-30" fmla="*/ 0 h 276145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14" name="Rectángulo 13"/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15" name="Rectángulo 14"/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16" name="Rectángulo 15"/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</p:grpSp>
      <p:grpSp>
        <p:nvGrpSpPr>
          <p:cNvPr id="17" name="Grupo 16"/>
          <p:cNvGrpSpPr/>
          <p:nvPr/>
        </p:nvGrpSpPr>
        <p:grpSpPr>
          <a:xfrm>
            <a:off x="8154785" y="1344947"/>
            <a:ext cx="2093251" cy="3699933"/>
            <a:chOff x="4700634" y="1022350"/>
            <a:chExt cx="1569938" cy="2774950"/>
          </a:xfrm>
          <a:solidFill>
            <a:schemeClr val="tx2"/>
          </a:solidFill>
        </p:grpSpPr>
        <p:sp>
          <p:nvSpPr>
            <p:cNvPr id="18" name="Rectángulo 6"/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-1" fmla="*/ 0 w 171450"/>
                <a:gd name="connsiteY0-2" fmla="*/ 0 h 2764631"/>
                <a:gd name="connsiteX1-3" fmla="*/ 171450 w 171450"/>
                <a:gd name="connsiteY1-4" fmla="*/ 0 h 2764631"/>
                <a:gd name="connsiteX2-5" fmla="*/ 171450 w 171450"/>
                <a:gd name="connsiteY2-6" fmla="*/ 2707481 h 2764631"/>
                <a:gd name="connsiteX3-7" fmla="*/ 0 w 171450"/>
                <a:gd name="connsiteY3-8" fmla="*/ 2764631 h 2764631"/>
                <a:gd name="connsiteX4-9" fmla="*/ 0 w 171450"/>
                <a:gd name="connsiteY4-10" fmla="*/ 0 h 2764631"/>
                <a:gd name="connsiteX0-11" fmla="*/ 0 w 171450"/>
                <a:gd name="connsiteY0-12" fmla="*/ 0 h 2761456"/>
                <a:gd name="connsiteX1-13" fmla="*/ 171450 w 171450"/>
                <a:gd name="connsiteY1-14" fmla="*/ 0 h 2761456"/>
                <a:gd name="connsiteX2-15" fmla="*/ 171450 w 171450"/>
                <a:gd name="connsiteY2-16" fmla="*/ 2707481 h 2761456"/>
                <a:gd name="connsiteX3-17" fmla="*/ 0 w 171450"/>
                <a:gd name="connsiteY3-18" fmla="*/ 2761456 h 2761456"/>
                <a:gd name="connsiteX4-19" fmla="*/ 0 w 171450"/>
                <a:gd name="connsiteY4-20" fmla="*/ 0 h 2761456"/>
                <a:gd name="connsiteX0-21" fmla="*/ 0 w 171450"/>
                <a:gd name="connsiteY0-22" fmla="*/ 0 h 2761456"/>
                <a:gd name="connsiteX1-23" fmla="*/ 168275 w 171450"/>
                <a:gd name="connsiteY1-24" fmla="*/ 47393 h 2761456"/>
                <a:gd name="connsiteX2-25" fmla="*/ 171450 w 171450"/>
                <a:gd name="connsiteY2-26" fmla="*/ 2707481 h 2761456"/>
                <a:gd name="connsiteX3-27" fmla="*/ 0 w 171450"/>
                <a:gd name="connsiteY3-28" fmla="*/ 2761456 h 2761456"/>
                <a:gd name="connsiteX4-29" fmla="*/ 0 w 171450"/>
                <a:gd name="connsiteY4-30" fmla="*/ 0 h 276145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19" name="Rectángulo 18"/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20" name="Rectángulo 19"/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21" name="Rectángulo 20"/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</p:grpSp>
      <p:grpSp>
        <p:nvGrpSpPr>
          <p:cNvPr id="22" name="Grupo 21"/>
          <p:cNvGrpSpPr/>
          <p:nvPr/>
        </p:nvGrpSpPr>
        <p:grpSpPr>
          <a:xfrm>
            <a:off x="9463196" y="1344947"/>
            <a:ext cx="2093251" cy="3699933"/>
            <a:chOff x="4700634" y="1022350"/>
            <a:chExt cx="1569938" cy="2774950"/>
          </a:xfrm>
          <a:solidFill>
            <a:schemeClr val="accent5"/>
          </a:solidFill>
        </p:grpSpPr>
        <p:sp>
          <p:nvSpPr>
            <p:cNvPr id="23" name="Rectángulo 6"/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-1" fmla="*/ 0 w 171450"/>
                <a:gd name="connsiteY0-2" fmla="*/ 0 h 2764631"/>
                <a:gd name="connsiteX1-3" fmla="*/ 171450 w 171450"/>
                <a:gd name="connsiteY1-4" fmla="*/ 0 h 2764631"/>
                <a:gd name="connsiteX2-5" fmla="*/ 171450 w 171450"/>
                <a:gd name="connsiteY2-6" fmla="*/ 2707481 h 2764631"/>
                <a:gd name="connsiteX3-7" fmla="*/ 0 w 171450"/>
                <a:gd name="connsiteY3-8" fmla="*/ 2764631 h 2764631"/>
                <a:gd name="connsiteX4-9" fmla="*/ 0 w 171450"/>
                <a:gd name="connsiteY4-10" fmla="*/ 0 h 2764631"/>
                <a:gd name="connsiteX0-11" fmla="*/ 0 w 171450"/>
                <a:gd name="connsiteY0-12" fmla="*/ 0 h 2761456"/>
                <a:gd name="connsiteX1-13" fmla="*/ 171450 w 171450"/>
                <a:gd name="connsiteY1-14" fmla="*/ 0 h 2761456"/>
                <a:gd name="connsiteX2-15" fmla="*/ 171450 w 171450"/>
                <a:gd name="connsiteY2-16" fmla="*/ 2707481 h 2761456"/>
                <a:gd name="connsiteX3-17" fmla="*/ 0 w 171450"/>
                <a:gd name="connsiteY3-18" fmla="*/ 2761456 h 2761456"/>
                <a:gd name="connsiteX4-19" fmla="*/ 0 w 171450"/>
                <a:gd name="connsiteY4-20" fmla="*/ 0 h 2761456"/>
                <a:gd name="connsiteX0-21" fmla="*/ 0 w 171450"/>
                <a:gd name="connsiteY0-22" fmla="*/ 0 h 2761456"/>
                <a:gd name="connsiteX1-23" fmla="*/ 168275 w 171450"/>
                <a:gd name="connsiteY1-24" fmla="*/ 47393 h 2761456"/>
                <a:gd name="connsiteX2-25" fmla="*/ 171450 w 171450"/>
                <a:gd name="connsiteY2-26" fmla="*/ 2707481 h 2761456"/>
                <a:gd name="connsiteX3-27" fmla="*/ 0 w 171450"/>
                <a:gd name="connsiteY3-28" fmla="*/ 2761456 h 2761456"/>
                <a:gd name="connsiteX4-29" fmla="*/ 0 w 171450"/>
                <a:gd name="connsiteY4-30" fmla="*/ 0 h 276145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24" name="Rectángulo 23"/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25" name="Rectángulo 24"/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26" name="Rectángulo 25"/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</p:grpSp>
      <p:pic>
        <p:nvPicPr>
          <p:cNvPr id="29" name="Image 3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94" b="22591"/>
          <a:stretch>
            <a:fillRect/>
          </a:stretch>
        </p:blipFill>
        <p:spPr>
          <a:xfrm>
            <a:off x="336000" y="829816"/>
            <a:ext cx="1884680" cy="811953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12700" imgH="12700" progId="TCLayout.ActiveDocument.1">
                  <p:embed/>
                </p:oleObj>
              </mc:Choice>
              <mc:Fallback>
                <p:oleObj name="Diapositiva de think-cell" r:id="rId3" imgW="12700" imgH="12700" progId="TCLayout.ActiveDocument.1">
                  <p:embed/>
                  <p:pic>
                    <p:nvPicPr>
                      <p:cNvPr id="0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ítulo 22"/>
          <p:cNvSpPr>
            <a:spLocks noGrp="1"/>
          </p:cNvSpPr>
          <p:nvPr>
            <p:ph type="title"/>
          </p:nvPr>
        </p:nvSpPr>
        <p:spPr>
          <a:xfrm>
            <a:off x="263525" y="620395"/>
            <a:ext cx="3941445" cy="863600"/>
          </a:xfrm>
        </p:spPr>
        <p:txBody>
          <a:bodyPr/>
          <a:lstStyle/>
          <a:p>
            <a:r>
              <a:rPr lang="fr-FR" dirty="0"/>
              <a:t>Diagramme d'interconnectivité</a:t>
            </a:r>
            <a:br>
              <a:rPr lang="fr-FR" dirty="0"/>
            </a:br>
            <a:br>
              <a:rPr lang="fr-FR" dirty="0"/>
            </a:br>
            <a:endParaRPr lang="fr-FR" dirty="0"/>
          </a:p>
        </p:txBody>
      </p:sp>
      <p:sp>
        <p:nvSpPr>
          <p:cNvPr id="5" name="Título 22"/>
          <p:cNvSpPr txBox="1"/>
          <p:nvPr/>
        </p:nvSpPr>
        <p:spPr>
          <a:xfrm>
            <a:off x="191135" y="2853055"/>
            <a:ext cx="7499350" cy="1587500"/>
          </a:xfrm>
          <a:prstGeom prst="rect">
            <a:avLst/>
          </a:prstGeom>
        </p:spPr>
        <p:txBody>
          <a:bodyPr lIns="0" tIns="0" rIns="0" bIns="0"/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65" kern="1200">
                <a:solidFill>
                  <a:schemeClr val="tx1"/>
                </a:solidFill>
                <a:latin typeface="Playfair Display" pitchFamily="2" charset="77"/>
                <a:ea typeface="+mj-ea"/>
                <a:cs typeface="+mj-cs"/>
              </a:defRPr>
            </a:lvl1pPr>
          </a:lstStyle>
          <a:p>
            <a:r>
              <a:rPr lang="es-ES" altLang="fr-FR" dirty="0"/>
              <a:t>C</a:t>
            </a:r>
            <a:r>
              <a:rPr lang="fr-FR" dirty="0"/>
              <a:t>ontenu:</a:t>
            </a:r>
          </a:p>
          <a:p>
            <a:r>
              <a:rPr lang="en-US" dirty="0"/>
              <a:t>Cas </a:t>
            </a:r>
            <a:r>
              <a:rPr lang="en-US" dirty="0" err="1"/>
              <a:t>d’utilisation</a:t>
            </a:r>
            <a:r>
              <a:rPr lang="en-US" dirty="0"/>
              <a:t> </a:t>
            </a:r>
            <a:r>
              <a:rPr lang="fr-FR" altLang="en-US" dirty="0"/>
              <a:t>RSU</a:t>
            </a:r>
          </a:p>
          <a:p>
            <a:endParaRPr lang="fr-FR" dirty="0"/>
          </a:p>
          <a:p>
            <a:r>
              <a:rPr lang="es-ES" altLang="en-US" dirty="0"/>
              <a:t>M</a:t>
            </a:r>
            <a:r>
              <a:rPr lang="en-US" dirty="0" err="1"/>
              <a:t>inistère</a:t>
            </a:r>
            <a:r>
              <a:rPr lang="en-US" dirty="0"/>
              <a:t> de </a:t>
            </a:r>
            <a:r>
              <a:rPr lang="en-US" dirty="0" err="1"/>
              <a:t>l'Éducation</a:t>
            </a:r>
            <a:r>
              <a:rPr lang="en-US" dirty="0"/>
              <a:t> </a:t>
            </a:r>
            <a:r>
              <a:rPr lang="es-ES" altLang="en-US" dirty="0"/>
              <a:t>N</a:t>
            </a:r>
            <a:r>
              <a:rPr lang="en-US" dirty="0" err="1"/>
              <a:t>ationale</a:t>
            </a:r>
            <a:r>
              <a:rPr lang="en-US" dirty="0"/>
              <a:t> </a:t>
            </a:r>
          </a:p>
          <a:p>
            <a:r>
              <a:rPr lang="en-US" dirty="0"/>
              <a:t>du </a:t>
            </a:r>
            <a:r>
              <a:rPr lang="en-US" dirty="0" err="1"/>
              <a:t>Royaume</a:t>
            </a:r>
            <a:r>
              <a:rPr lang="en-US" dirty="0"/>
              <a:t> du Maroc</a:t>
            </a:r>
            <a:endParaRPr lang="fr-FR" dirty="0"/>
          </a:p>
          <a:p>
            <a:endParaRPr lang="fr-FR" dirty="0"/>
          </a:p>
        </p:txBody>
      </p:sp>
      <p:sp>
        <p:nvSpPr>
          <p:cNvPr id="7" name="Marcador de texto 7"/>
          <p:cNvSpPr txBox="1"/>
          <p:nvPr/>
        </p:nvSpPr>
        <p:spPr>
          <a:xfrm>
            <a:off x="203311" y="5589735"/>
            <a:ext cx="5760000" cy="431553"/>
          </a:xfrm>
          <a:prstGeom prst="rect">
            <a:avLst/>
          </a:prstGeom>
        </p:spPr>
        <p:txBody>
          <a:bodyPr/>
          <a:lstStyle>
            <a:lvl1pPr marL="228600" indent="-228600" algn="l" defTabSz="91376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oho Gothic Pro Light" panose="020B0303030504020204" pitchFamily="34" charset="77"/>
                <a:ea typeface="+mn-ea"/>
                <a:cs typeface="+mn-cs"/>
              </a:defRPr>
            </a:lvl1pPr>
            <a:lvl2pPr marL="685165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365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565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3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33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895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095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95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s-ES" dirty="0"/>
              <a:t>Avril </a:t>
            </a:r>
            <a:r>
              <a:rPr lang="fr-FR" dirty="0"/>
              <a:t>2021 </a:t>
            </a:r>
            <a:endParaRPr lang="fr-FR" sz="100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" name="Image 89">
            <a:extLst>
              <a:ext uri="{FF2B5EF4-FFF2-40B4-BE49-F238E27FC236}">
                <a16:creationId xmlns:a16="http://schemas.microsoft.com/office/drawing/2014/main" id="{0302F823-EE3B-4A0F-98BC-3E6F1F0312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412" y="1535917"/>
            <a:ext cx="12192000" cy="4194048"/>
          </a:xfrm>
          <a:prstGeom prst="rect">
            <a:avLst/>
          </a:prstGeom>
        </p:spPr>
      </p:pic>
      <p:sp>
        <p:nvSpPr>
          <p:cNvPr id="20" name="Rectángulo 19"/>
          <p:cNvSpPr/>
          <p:nvPr/>
        </p:nvSpPr>
        <p:spPr>
          <a:xfrm>
            <a:off x="4501820" y="1699898"/>
            <a:ext cx="2040448" cy="39029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ym typeface="+mn-ea"/>
              </a:rPr>
              <a:t>Cas </a:t>
            </a:r>
            <a:r>
              <a:rPr lang="en-US" dirty="0" err="1">
                <a:sym typeface="+mn-ea"/>
              </a:rPr>
              <a:t>d’utilisation</a:t>
            </a:r>
            <a:r>
              <a:rPr lang="es-ES" altLang="en-US" dirty="0">
                <a:sym typeface="+mn-ea"/>
              </a:rPr>
              <a:t> </a:t>
            </a:r>
            <a:r>
              <a:rPr lang="fr-FR" altLang="en-US" dirty="0"/>
              <a:t>RSU</a:t>
            </a:r>
            <a:endParaRPr lang="en-US" dirty="0"/>
          </a:p>
        </p:txBody>
      </p:sp>
      <p:sp>
        <p:nvSpPr>
          <p:cNvPr id="52" name="Rectángulo 51"/>
          <p:cNvSpPr/>
          <p:nvPr/>
        </p:nvSpPr>
        <p:spPr>
          <a:xfrm>
            <a:off x="7422555" y="2473342"/>
            <a:ext cx="2539912" cy="282786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/>
          </a:p>
        </p:txBody>
      </p:sp>
      <p:sp>
        <p:nvSpPr>
          <p:cNvPr id="25" name="Rectángulo 24"/>
          <p:cNvSpPr/>
          <p:nvPr/>
        </p:nvSpPr>
        <p:spPr>
          <a:xfrm>
            <a:off x="551384" y="2132856"/>
            <a:ext cx="2242939" cy="318922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/>
          </a:p>
        </p:txBody>
      </p:sp>
      <p:sp>
        <p:nvSpPr>
          <p:cNvPr id="26" name="Cuadro de texto 25"/>
          <p:cNvSpPr txBox="1"/>
          <p:nvPr/>
        </p:nvSpPr>
        <p:spPr>
          <a:xfrm>
            <a:off x="1001369" y="2418915"/>
            <a:ext cx="13927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n-US" sz="1050" dirty="0"/>
              <a:t>CONSOMMATEURS</a:t>
            </a:r>
          </a:p>
        </p:txBody>
      </p:sp>
      <p:sp>
        <p:nvSpPr>
          <p:cNvPr id="30" name="Nube 29"/>
          <p:cNvSpPr/>
          <p:nvPr/>
        </p:nvSpPr>
        <p:spPr>
          <a:xfrm>
            <a:off x="5061136" y="2308230"/>
            <a:ext cx="974090" cy="760730"/>
          </a:xfrm>
          <a:prstGeom prst="cloud">
            <a:avLst/>
          </a:prstGeom>
          <a:solidFill>
            <a:schemeClr val="tx2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ES" altLang="en-US" dirty="0"/>
              <a:t>API</a:t>
            </a:r>
          </a:p>
        </p:txBody>
      </p:sp>
      <p:sp>
        <p:nvSpPr>
          <p:cNvPr id="35" name="Cuadro de texto 34"/>
          <p:cNvSpPr txBox="1"/>
          <p:nvPr/>
        </p:nvSpPr>
        <p:spPr>
          <a:xfrm>
            <a:off x="4573068" y="3068960"/>
            <a:ext cx="21626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" altLang="en-US" sz="1000" dirty="0" err="1"/>
              <a:t>recuperer-consommation-donnees</a:t>
            </a:r>
            <a:endParaRPr lang="es-ES" altLang="en-US" sz="1000" dirty="0"/>
          </a:p>
        </p:txBody>
      </p:sp>
      <p:sp>
        <p:nvSpPr>
          <p:cNvPr id="41" name="Óvalo 40"/>
          <p:cNvSpPr/>
          <p:nvPr/>
        </p:nvSpPr>
        <p:spPr>
          <a:xfrm>
            <a:off x="8374139" y="3398274"/>
            <a:ext cx="784860" cy="772160"/>
          </a:xfrm>
          <a:prstGeom prst="ellipse">
            <a:avLst/>
          </a:prstGeom>
          <a:solidFill>
            <a:schemeClr val="accent3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 sz="600">
              <a:sym typeface="+mn-ea"/>
            </a:endParaRPr>
          </a:p>
        </p:txBody>
      </p:sp>
      <p:cxnSp>
        <p:nvCxnSpPr>
          <p:cNvPr id="44" name="Conector recto de flecha 43"/>
          <p:cNvCxnSpPr>
            <a:cxnSpLocks/>
          </p:cNvCxnSpPr>
          <p:nvPr/>
        </p:nvCxnSpPr>
        <p:spPr>
          <a:xfrm flipV="1">
            <a:off x="1950660" y="2820326"/>
            <a:ext cx="2963009" cy="268299"/>
          </a:xfrm>
          <a:prstGeom prst="straightConnector1">
            <a:avLst/>
          </a:prstGeom>
          <a:ln w="19050">
            <a:solidFill>
              <a:srgbClr val="0070C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uadro de texto 48"/>
          <p:cNvSpPr txBox="1"/>
          <p:nvPr/>
        </p:nvSpPr>
        <p:spPr>
          <a:xfrm>
            <a:off x="8268225" y="4190891"/>
            <a:ext cx="9637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fr-FR" sz="1000" dirty="0"/>
              <a:t>consommation</a:t>
            </a:r>
            <a:endParaRPr lang="es-ES" altLang="en-US" sz="1000" dirty="0"/>
          </a:p>
        </p:txBody>
      </p:sp>
      <p:sp>
        <p:nvSpPr>
          <p:cNvPr id="53" name="Cuadro de texto 52"/>
          <p:cNvSpPr txBox="1"/>
          <p:nvPr/>
        </p:nvSpPr>
        <p:spPr>
          <a:xfrm>
            <a:off x="7902525" y="2988623"/>
            <a:ext cx="179387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n-US" dirty="0"/>
              <a:t>REDAL</a:t>
            </a:r>
          </a:p>
        </p:txBody>
      </p:sp>
      <p:cxnSp>
        <p:nvCxnSpPr>
          <p:cNvPr id="61" name="Conector recto de flecha 60"/>
          <p:cNvCxnSpPr>
            <a:cxnSpLocks/>
          </p:cNvCxnSpPr>
          <p:nvPr/>
        </p:nvCxnSpPr>
        <p:spPr>
          <a:xfrm>
            <a:off x="6148018" y="2739544"/>
            <a:ext cx="2046293" cy="917347"/>
          </a:xfrm>
          <a:prstGeom prst="straightConnector1">
            <a:avLst/>
          </a:prstGeom>
          <a:ln w="19050">
            <a:solidFill>
              <a:srgbClr val="0070C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Cuadro de texto 70"/>
          <p:cNvSpPr txBox="1"/>
          <p:nvPr/>
        </p:nvSpPr>
        <p:spPr>
          <a:xfrm>
            <a:off x="3382961" y="2924944"/>
            <a:ext cx="474345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GET</a:t>
            </a:r>
          </a:p>
        </p:txBody>
      </p:sp>
      <p:sp>
        <p:nvSpPr>
          <p:cNvPr id="21" name="Cuadro de texto 20"/>
          <p:cNvSpPr txBox="1"/>
          <p:nvPr/>
        </p:nvSpPr>
        <p:spPr>
          <a:xfrm>
            <a:off x="4333408" y="1762598"/>
            <a:ext cx="23772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n-US" sz="1000" b="1" dirty="0" err="1">
                <a:sym typeface="+mn-ea"/>
              </a:rPr>
              <a:t>Plateforme</a:t>
            </a:r>
            <a:r>
              <a:rPr lang="es-ES" altLang="en-US" sz="1000" b="1" dirty="0">
                <a:sym typeface="+mn-ea"/>
              </a:rPr>
              <a:t> </a:t>
            </a:r>
            <a:r>
              <a:rPr lang="es-ES" altLang="en-US" sz="1000" b="1" dirty="0" err="1">
                <a:sym typeface="+mn-ea"/>
              </a:rPr>
              <a:t>d’interopérabilité</a:t>
            </a:r>
            <a:endParaRPr lang="es-ES" altLang="en-US" sz="1000" b="1" dirty="0">
              <a:sym typeface="+mn-ea"/>
            </a:endParaRPr>
          </a:p>
          <a:p>
            <a:pPr algn="ctr"/>
            <a:endParaRPr lang="es-ES" altLang="en-US" sz="1400" b="1" dirty="0">
              <a:sym typeface="+mn-ea"/>
            </a:endParaRPr>
          </a:p>
        </p:txBody>
      </p:sp>
      <p:sp>
        <p:nvSpPr>
          <p:cNvPr id="23" name="Cuadro de texto 22"/>
          <p:cNvSpPr txBox="1"/>
          <p:nvPr/>
        </p:nvSpPr>
        <p:spPr>
          <a:xfrm>
            <a:off x="6733282" y="2805695"/>
            <a:ext cx="805180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REST/JSON</a:t>
            </a:r>
          </a:p>
        </p:txBody>
      </p:sp>
      <p:sp>
        <p:nvSpPr>
          <p:cNvPr id="29" name="Cuadro de texto 28"/>
          <p:cNvSpPr txBox="1"/>
          <p:nvPr/>
        </p:nvSpPr>
        <p:spPr>
          <a:xfrm>
            <a:off x="6806977" y="3172773"/>
            <a:ext cx="474345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GET</a:t>
            </a:r>
          </a:p>
        </p:txBody>
      </p:sp>
      <p:sp>
        <p:nvSpPr>
          <p:cNvPr id="54" name="Cuadro de texto 53"/>
          <p:cNvSpPr txBox="1"/>
          <p:nvPr/>
        </p:nvSpPr>
        <p:spPr>
          <a:xfrm>
            <a:off x="3215680" y="2695074"/>
            <a:ext cx="805180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REST/JSON</a:t>
            </a:r>
          </a:p>
        </p:txBody>
      </p:sp>
      <p:sp>
        <p:nvSpPr>
          <p:cNvPr id="8" name="Óvalo 7"/>
          <p:cNvSpPr/>
          <p:nvPr/>
        </p:nvSpPr>
        <p:spPr>
          <a:xfrm>
            <a:off x="1385993" y="2901597"/>
            <a:ext cx="539115" cy="512445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 sz="700"/>
          </a:p>
        </p:txBody>
      </p:sp>
      <p:sp>
        <p:nvSpPr>
          <p:cNvPr id="14" name="Cuadro de texto 13"/>
          <p:cNvSpPr txBox="1"/>
          <p:nvPr/>
        </p:nvSpPr>
        <p:spPr>
          <a:xfrm>
            <a:off x="1458001" y="3501008"/>
            <a:ext cx="3983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" altLang="en-US" sz="900" dirty="0">
                <a:solidFill>
                  <a:schemeClr val="tx1"/>
                </a:solidFill>
              </a:rPr>
              <a:t>RSU</a:t>
            </a:r>
          </a:p>
        </p:txBody>
      </p:sp>
      <p:sp>
        <p:nvSpPr>
          <p:cNvPr id="91" name="Cuadro de texto 10">
            <a:extLst>
              <a:ext uri="{FF2B5EF4-FFF2-40B4-BE49-F238E27FC236}">
                <a16:creationId xmlns:a16="http://schemas.microsoft.com/office/drawing/2014/main" id="{E2F6151D-CBEF-40F5-ACFA-D6BE82DD0521}"/>
              </a:ext>
            </a:extLst>
          </p:cNvPr>
          <p:cNvSpPr txBox="1"/>
          <p:nvPr/>
        </p:nvSpPr>
        <p:spPr>
          <a:xfrm>
            <a:off x="8434296" y="3659611"/>
            <a:ext cx="785495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 err="1">
                <a:solidFill>
                  <a:schemeClr val="bg1"/>
                </a:solidFill>
              </a:rPr>
              <a:t>Webservice</a:t>
            </a:r>
            <a:endParaRPr lang="es-ES" altLang="en-US" sz="900" dirty="0">
              <a:solidFill>
                <a:schemeClr val="bg1"/>
              </a:solidFill>
            </a:endParaRPr>
          </a:p>
        </p:txBody>
      </p:sp>
      <p:sp>
        <p:nvSpPr>
          <p:cNvPr id="34" name="Óvalo 15">
            <a:extLst>
              <a:ext uri="{FF2B5EF4-FFF2-40B4-BE49-F238E27FC236}">
                <a16:creationId xmlns:a16="http://schemas.microsoft.com/office/drawing/2014/main" id="{D3A939C7-56C6-4E8B-97DC-098493CA46EB}"/>
              </a:ext>
            </a:extLst>
          </p:cNvPr>
          <p:cNvSpPr/>
          <p:nvPr/>
        </p:nvSpPr>
        <p:spPr>
          <a:xfrm>
            <a:off x="1353521" y="4220343"/>
            <a:ext cx="539115" cy="512445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 sz="400"/>
          </a:p>
        </p:txBody>
      </p:sp>
      <p:sp>
        <p:nvSpPr>
          <p:cNvPr id="36" name="Cuadro de texto 16">
            <a:extLst>
              <a:ext uri="{FF2B5EF4-FFF2-40B4-BE49-F238E27FC236}">
                <a16:creationId xmlns:a16="http://schemas.microsoft.com/office/drawing/2014/main" id="{F8656EA3-683F-492F-A0BA-E712DA7F9DB3}"/>
              </a:ext>
            </a:extLst>
          </p:cNvPr>
          <p:cNvSpPr txBox="1"/>
          <p:nvPr/>
        </p:nvSpPr>
        <p:spPr>
          <a:xfrm>
            <a:off x="942041" y="4876190"/>
            <a:ext cx="1427480" cy="2298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s-ES" altLang="en-US" sz="900">
                <a:solidFill>
                  <a:schemeClr val="tx1"/>
                </a:solidFill>
              </a:rPr>
              <a:t>Nouveaux consommateurs</a:t>
            </a:r>
          </a:p>
        </p:txBody>
      </p:sp>
      <p:cxnSp>
        <p:nvCxnSpPr>
          <p:cNvPr id="37" name="Conector recto 23">
            <a:extLst>
              <a:ext uri="{FF2B5EF4-FFF2-40B4-BE49-F238E27FC236}">
                <a16:creationId xmlns:a16="http://schemas.microsoft.com/office/drawing/2014/main" id="{1A489A03-AFD8-4BB0-95C4-0466EAF99B4A}"/>
              </a:ext>
            </a:extLst>
          </p:cNvPr>
          <p:cNvCxnSpPr/>
          <p:nvPr/>
        </p:nvCxnSpPr>
        <p:spPr>
          <a:xfrm>
            <a:off x="1623396" y="3811403"/>
            <a:ext cx="0" cy="339725"/>
          </a:xfrm>
          <a:prstGeom prst="line">
            <a:avLst/>
          </a:prstGeom>
          <a:ln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Nube 29">
            <a:extLst>
              <a:ext uri="{FF2B5EF4-FFF2-40B4-BE49-F238E27FC236}">
                <a16:creationId xmlns:a16="http://schemas.microsoft.com/office/drawing/2014/main" id="{BD6B3D8C-244A-4629-B457-46A3027E4012}"/>
              </a:ext>
            </a:extLst>
          </p:cNvPr>
          <p:cNvSpPr/>
          <p:nvPr/>
        </p:nvSpPr>
        <p:spPr>
          <a:xfrm>
            <a:off x="5034998" y="3692324"/>
            <a:ext cx="974090" cy="760730"/>
          </a:xfrm>
          <a:prstGeom prst="cloud">
            <a:avLst/>
          </a:prstGeom>
          <a:solidFill>
            <a:schemeClr val="tx2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ES" altLang="en-US" dirty="0"/>
              <a:t>API</a:t>
            </a:r>
          </a:p>
        </p:txBody>
      </p:sp>
      <p:sp>
        <p:nvSpPr>
          <p:cNvPr id="28" name="Cuadro de texto 34">
            <a:extLst>
              <a:ext uri="{FF2B5EF4-FFF2-40B4-BE49-F238E27FC236}">
                <a16:creationId xmlns:a16="http://schemas.microsoft.com/office/drawing/2014/main" id="{9151B4C3-25CE-4BD8-A0F8-685C4E81A008}"/>
              </a:ext>
            </a:extLst>
          </p:cNvPr>
          <p:cNvSpPr txBox="1"/>
          <p:nvPr/>
        </p:nvSpPr>
        <p:spPr>
          <a:xfrm>
            <a:off x="4548018" y="4508020"/>
            <a:ext cx="21626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" altLang="en-US" sz="1000" dirty="0" err="1"/>
              <a:t>recuperer-consommation-specific</a:t>
            </a:r>
            <a:endParaRPr lang="es-ES" altLang="en-US" sz="1000" dirty="0"/>
          </a:p>
        </p:txBody>
      </p:sp>
      <p:cxnSp>
        <p:nvCxnSpPr>
          <p:cNvPr id="31" name="Conector recto de flecha 60">
            <a:extLst>
              <a:ext uri="{FF2B5EF4-FFF2-40B4-BE49-F238E27FC236}">
                <a16:creationId xmlns:a16="http://schemas.microsoft.com/office/drawing/2014/main" id="{9CF70DAC-21E2-442D-BAFC-DA359EA254D0}"/>
              </a:ext>
            </a:extLst>
          </p:cNvPr>
          <p:cNvCxnSpPr>
            <a:cxnSpLocks/>
          </p:cNvCxnSpPr>
          <p:nvPr/>
        </p:nvCxnSpPr>
        <p:spPr>
          <a:xfrm flipV="1">
            <a:off x="6083921" y="3869533"/>
            <a:ext cx="2150112" cy="172464"/>
          </a:xfrm>
          <a:prstGeom prst="straightConnector1">
            <a:avLst/>
          </a:prstGeom>
          <a:ln w="19050">
            <a:solidFill>
              <a:srgbClr val="0070C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uadro de texto 22">
            <a:extLst>
              <a:ext uri="{FF2B5EF4-FFF2-40B4-BE49-F238E27FC236}">
                <a16:creationId xmlns:a16="http://schemas.microsoft.com/office/drawing/2014/main" id="{0D145EE3-004A-4769-B3B9-539F68C5C636}"/>
              </a:ext>
            </a:extLst>
          </p:cNvPr>
          <p:cNvSpPr txBox="1"/>
          <p:nvPr/>
        </p:nvSpPr>
        <p:spPr>
          <a:xfrm>
            <a:off x="6658972" y="3696148"/>
            <a:ext cx="805180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REST/JSON</a:t>
            </a:r>
          </a:p>
        </p:txBody>
      </p:sp>
      <p:sp>
        <p:nvSpPr>
          <p:cNvPr id="38" name="Cuadro de texto 28">
            <a:extLst>
              <a:ext uri="{FF2B5EF4-FFF2-40B4-BE49-F238E27FC236}">
                <a16:creationId xmlns:a16="http://schemas.microsoft.com/office/drawing/2014/main" id="{BA92FC88-B953-4408-B266-6A80FF446F31}"/>
              </a:ext>
            </a:extLst>
          </p:cNvPr>
          <p:cNvSpPr txBox="1"/>
          <p:nvPr/>
        </p:nvSpPr>
        <p:spPr>
          <a:xfrm>
            <a:off x="6732667" y="4063226"/>
            <a:ext cx="474345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GET</a:t>
            </a:r>
          </a:p>
        </p:txBody>
      </p:sp>
      <p:cxnSp>
        <p:nvCxnSpPr>
          <p:cNvPr id="39" name="Conector recto de flecha 43">
            <a:extLst>
              <a:ext uri="{FF2B5EF4-FFF2-40B4-BE49-F238E27FC236}">
                <a16:creationId xmlns:a16="http://schemas.microsoft.com/office/drawing/2014/main" id="{FB72670B-1332-41A0-B431-686D41D60CB1}"/>
              </a:ext>
            </a:extLst>
          </p:cNvPr>
          <p:cNvCxnSpPr>
            <a:cxnSpLocks/>
          </p:cNvCxnSpPr>
          <p:nvPr/>
        </p:nvCxnSpPr>
        <p:spPr>
          <a:xfrm>
            <a:off x="1925108" y="3356923"/>
            <a:ext cx="3018764" cy="704612"/>
          </a:xfrm>
          <a:prstGeom prst="straightConnector1">
            <a:avLst/>
          </a:prstGeom>
          <a:ln w="19050">
            <a:solidFill>
              <a:srgbClr val="0070C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uadro de texto 70">
            <a:extLst>
              <a:ext uri="{FF2B5EF4-FFF2-40B4-BE49-F238E27FC236}">
                <a16:creationId xmlns:a16="http://schemas.microsoft.com/office/drawing/2014/main" id="{ECFEB495-14EE-40AA-B86D-4AF97CA74A47}"/>
              </a:ext>
            </a:extLst>
          </p:cNvPr>
          <p:cNvSpPr txBox="1"/>
          <p:nvPr/>
        </p:nvSpPr>
        <p:spPr>
          <a:xfrm>
            <a:off x="3413164" y="3789040"/>
            <a:ext cx="474345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GET</a:t>
            </a:r>
          </a:p>
        </p:txBody>
      </p:sp>
      <p:sp>
        <p:nvSpPr>
          <p:cNvPr id="42" name="Cuadro de texto 53">
            <a:extLst>
              <a:ext uri="{FF2B5EF4-FFF2-40B4-BE49-F238E27FC236}">
                <a16:creationId xmlns:a16="http://schemas.microsoft.com/office/drawing/2014/main" id="{85E28A13-9A98-4FFE-93C6-5412D8D93D84}"/>
              </a:ext>
            </a:extLst>
          </p:cNvPr>
          <p:cNvSpPr txBox="1"/>
          <p:nvPr/>
        </p:nvSpPr>
        <p:spPr>
          <a:xfrm>
            <a:off x="3256545" y="3487162"/>
            <a:ext cx="805180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REST/JSON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ángulo 19"/>
          <p:cNvSpPr/>
          <p:nvPr/>
        </p:nvSpPr>
        <p:spPr>
          <a:xfrm>
            <a:off x="2508340" y="2396248"/>
            <a:ext cx="2040448" cy="22609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ym typeface="+mn-ea"/>
              </a:rPr>
              <a:t>Cas </a:t>
            </a:r>
            <a:r>
              <a:rPr lang="en-US" dirty="0" err="1">
                <a:sym typeface="+mn-ea"/>
              </a:rPr>
              <a:t>d’utilisation</a:t>
            </a:r>
            <a:r>
              <a:rPr lang="es-ES" altLang="en-US" dirty="0">
                <a:sym typeface="+mn-ea"/>
              </a:rPr>
              <a:t> </a:t>
            </a:r>
            <a:r>
              <a:rPr lang="fr-FR" altLang="en-US" dirty="0"/>
              <a:t>RSU</a:t>
            </a:r>
            <a:endParaRPr lang="en-US" dirty="0"/>
          </a:p>
        </p:txBody>
      </p:sp>
      <p:sp>
        <p:nvSpPr>
          <p:cNvPr id="52" name="Rectángulo 51"/>
          <p:cNvSpPr/>
          <p:nvPr/>
        </p:nvSpPr>
        <p:spPr>
          <a:xfrm>
            <a:off x="5429075" y="2445477"/>
            <a:ext cx="2821230" cy="188774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/>
          </a:p>
        </p:txBody>
      </p:sp>
      <p:sp>
        <p:nvSpPr>
          <p:cNvPr id="25" name="Rectángulo 24"/>
          <p:cNvSpPr/>
          <p:nvPr/>
        </p:nvSpPr>
        <p:spPr>
          <a:xfrm>
            <a:off x="231079" y="2396248"/>
            <a:ext cx="1433362" cy="3265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/>
          </a:p>
        </p:txBody>
      </p:sp>
      <p:sp>
        <p:nvSpPr>
          <p:cNvPr id="26" name="Cuadro de texto 25"/>
          <p:cNvSpPr txBox="1"/>
          <p:nvPr/>
        </p:nvSpPr>
        <p:spPr>
          <a:xfrm>
            <a:off x="271705" y="2641309"/>
            <a:ext cx="13927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n-US" sz="1050" dirty="0"/>
              <a:t>CONSOMMATEURS</a:t>
            </a:r>
          </a:p>
        </p:txBody>
      </p:sp>
      <p:sp>
        <p:nvSpPr>
          <p:cNvPr id="30" name="Nube 29"/>
          <p:cNvSpPr/>
          <p:nvPr/>
        </p:nvSpPr>
        <p:spPr>
          <a:xfrm>
            <a:off x="3067656" y="3110017"/>
            <a:ext cx="974090" cy="760730"/>
          </a:xfrm>
          <a:prstGeom prst="cloud">
            <a:avLst/>
          </a:prstGeom>
          <a:solidFill>
            <a:schemeClr val="tx2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ES" altLang="en-US" dirty="0"/>
              <a:t>API</a:t>
            </a:r>
          </a:p>
        </p:txBody>
      </p:sp>
      <p:sp>
        <p:nvSpPr>
          <p:cNvPr id="35" name="Cuadro de texto 34"/>
          <p:cNvSpPr txBox="1"/>
          <p:nvPr/>
        </p:nvSpPr>
        <p:spPr>
          <a:xfrm>
            <a:off x="2614936" y="4030385"/>
            <a:ext cx="18725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" altLang="en-US" sz="900" dirty="0" err="1"/>
              <a:t>recuperer-consommations-donnees</a:t>
            </a:r>
            <a:endParaRPr lang="es-ES" altLang="en-US" sz="900" dirty="0"/>
          </a:p>
        </p:txBody>
      </p:sp>
      <p:sp>
        <p:nvSpPr>
          <p:cNvPr id="41" name="Óvalo 40"/>
          <p:cNvSpPr/>
          <p:nvPr/>
        </p:nvSpPr>
        <p:spPr>
          <a:xfrm>
            <a:off x="6394151" y="2985001"/>
            <a:ext cx="784860" cy="772160"/>
          </a:xfrm>
          <a:prstGeom prst="ellipse">
            <a:avLst/>
          </a:prstGeom>
          <a:solidFill>
            <a:schemeClr val="accent3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 sz="600">
              <a:sym typeface="+mn-ea"/>
            </a:endParaRPr>
          </a:p>
        </p:txBody>
      </p:sp>
      <p:cxnSp>
        <p:nvCxnSpPr>
          <p:cNvPr id="44" name="Conector recto de flecha 43"/>
          <p:cNvCxnSpPr>
            <a:cxnSpLocks/>
          </p:cNvCxnSpPr>
          <p:nvPr/>
        </p:nvCxnSpPr>
        <p:spPr>
          <a:xfrm flipV="1">
            <a:off x="1258464" y="3469119"/>
            <a:ext cx="1745864" cy="11754"/>
          </a:xfrm>
          <a:prstGeom prst="straightConnector1">
            <a:avLst/>
          </a:prstGeom>
          <a:ln w="19050">
            <a:solidFill>
              <a:srgbClr val="0070C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uadro de texto 48"/>
          <p:cNvSpPr txBox="1"/>
          <p:nvPr/>
        </p:nvSpPr>
        <p:spPr>
          <a:xfrm>
            <a:off x="6348308" y="3852877"/>
            <a:ext cx="9637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fr-FR" altLang="en-US" sz="1000" dirty="0"/>
              <a:t>consommation</a:t>
            </a:r>
            <a:endParaRPr lang="es-ES" altLang="en-US" sz="1000" dirty="0"/>
          </a:p>
        </p:txBody>
      </p:sp>
      <p:sp>
        <p:nvSpPr>
          <p:cNvPr id="53" name="Cuadro de texto 52"/>
          <p:cNvSpPr txBox="1"/>
          <p:nvPr/>
        </p:nvSpPr>
        <p:spPr>
          <a:xfrm>
            <a:off x="5933629" y="2616701"/>
            <a:ext cx="179387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n-US" dirty="0"/>
              <a:t>REDAL</a:t>
            </a:r>
          </a:p>
        </p:txBody>
      </p:sp>
      <p:sp>
        <p:nvSpPr>
          <p:cNvPr id="11" name="Cuadro de texto 10"/>
          <p:cNvSpPr txBox="1"/>
          <p:nvPr/>
        </p:nvSpPr>
        <p:spPr>
          <a:xfrm>
            <a:off x="6437424" y="3246838"/>
            <a:ext cx="785495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 err="1">
                <a:solidFill>
                  <a:schemeClr val="bg1"/>
                </a:solidFill>
              </a:rPr>
              <a:t>Webservice</a:t>
            </a:r>
            <a:endParaRPr lang="es-ES" altLang="en-US" sz="900" dirty="0">
              <a:solidFill>
                <a:schemeClr val="bg1"/>
              </a:solidFill>
            </a:endParaRPr>
          </a:p>
        </p:txBody>
      </p:sp>
      <p:cxnSp>
        <p:nvCxnSpPr>
          <p:cNvPr id="61" name="Conector recto de flecha 60"/>
          <p:cNvCxnSpPr>
            <a:cxnSpLocks/>
          </p:cNvCxnSpPr>
          <p:nvPr/>
        </p:nvCxnSpPr>
        <p:spPr>
          <a:xfrm flipV="1">
            <a:off x="4118848" y="3389541"/>
            <a:ext cx="2150724" cy="87963"/>
          </a:xfrm>
          <a:prstGeom prst="straightConnector1">
            <a:avLst/>
          </a:prstGeom>
          <a:ln w="19050">
            <a:solidFill>
              <a:srgbClr val="0070C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Cuadro de texto 70"/>
          <p:cNvSpPr txBox="1"/>
          <p:nvPr/>
        </p:nvSpPr>
        <p:spPr>
          <a:xfrm>
            <a:off x="1834565" y="3522486"/>
            <a:ext cx="474345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GET</a:t>
            </a:r>
          </a:p>
        </p:txBody>
      </p:sp>
      <p:sp>
        <p:nvSpPr>
          <p:cNvPr id="21" name="Cuadro de texto 20"/>
          <p:cNvSpPr txBox="1"/>
          <p:nvPr/>
        </p:nvSpPr>
        <p:spPr>
          <a:xfrm>
            <a:off x="2324232" y="2678682"/>
            <a:ext cx="23772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n-US" sz="1000" b="1" dirty="0" err="1">
                <a:sym typeface="+mn-ea"/>
              </a:rPr>
              <a:t>Plateforme</a:t>
            </a:r>
            <a:r>
              <a:rPr lang="es-ES" altLang="en-US" sz="1000" b="1" dirty="0">
                <a:sym typeface="+mn-ea"/>
              </a:rPr>
              <a:t> </a:t>
            </a:r>
            <a:r>
              <a:rPr lang="es-ES" altLang="en-US" sz="1000" b="1" dirty="0" err="1">
                <a:sym typeface="+mn-ea"/>
              </a:rPr>
              <a:t>d’interopérabilité</a:t>
            </a:r>
            <a:endParaRPr lang="es-ES" altLang="en-US" sz="1000" b="1" dirty="0">
              <a:sym typeface="+mn-ea"/>
            </a:endParaRPr>
          </a:p>
          <a:p>
            <a:pPr algn="ctr"/>
            <a:endParaRPr lang="es-ES" altLang="en-US" sz="1400" b="1" dirty="0">
              <a:sym typeface="+mn-ea"/>
            </a:endParaRPr>
          </a:p>
        </p:txBody>
      </p:sp>
      <p:sp>
        <p:nvSpPr>
          <p:cNvPr id="23" name="Cuadro de texto 22"/>
          <p:cNvSpPr txBox="1"/>
          <p:nvPr/>
        </p:nvSpPr>
        <p:spPr>
          <a:xfrm>
            <a:off x="4638501" y="3189798"/>
            <a:ext cx="805180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REST/JSON</a:t>
            </a:r>
          </a:p>
        </p:txBody>
      </p:sp>
      <p:sp>
        <p:nvSpPr>
          <p:cNvPr id="29" name="Cuadro de texto 28"/>
          <p:cNvSpPr txBox="1"/>
          <p:nvPr/>
        </p:nvSpPr>
        <p:spPr>
          <a:xfrm>
            <a:off x="4792706" y="3407551"/>
            <a:ext cx="474345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GET</a:t>
            </a:r>
          </a:p>
        </p:txBody>
      </p:sp>
      <p:sp>
        <p:nvSpPr>
          <p:cNvPr id="54" name="Cuadro de texto 53"/>
          <p:cNvSpPr txBox="1"/>
          <p:nvPr/>
        </p:nvSpPr>
        <p:spPr>
          <a:xfrm>
            <a:off x="1660731" y="3212532"/>
            <a:ext cx="805180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REST/JSON</a:t>
            </a:r>
          </a:p>
        </p:txBody>
      </p:sp>
      <p:sp>
        <p:nvSpPr>
          <p:cNvPr id="8" name="Óvalo 7"/>
          <p:cNvSpPr/>
          <p:nvPr/>
        </p:nvSpPr>
        <p:spPr>
          <a:xfrm>
            <a:off x="670720" y="3212896"/>
            <a:ext cx="539115" cy="512445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 sz="700"/>
          </a:p>
        </p:txBody>
      </p:sp>
      <p:sp>
        <p:nvSpPr>
          <p:cNvPr id="14" name="Cuadro de texto 13"/>
          <p:cNvSpPr txBox="1"/>
          <p:nvPr/>
        </p:nvSpPr>
        <p:spPr>
          <a:xfrm>
            <a:off x="742728" y="3890939"/>
            <a:ext cx="3983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" altLang="en-US" sz="900" dirty="0">
                <a:solidFill>
                  <a:schemeClr val="tx1"/>
                </a:solidFill>
              </a:rPr>
              <a:t>RSU</a:t>
            </a:r>
          </a:p>
        </p:txBody>
      </p:sp>
      <p:sp>
        <p:nvSpPr>
          <p:cNvPr id="84" name="Cuadro de texto 82">
            <a:extLst>
              <a:ext uri="{FF2B5EF4-FFF2-40B4-BE49-F238E27FC236}">
                <a16:creationId xmlns:a16="http://schemas.microsoft.com/office/drawing/2014/main" id="{84D50D84-0C3F-4250-87A4-2BE210E48689}"/>
              </a:ext>
            </a:extLst>
          </p:cNvPr>
          <p:cNvSpPr txBox="1"/>
          <p:nvPr/>
        </p:nvSpPr>
        <p:spPr>
          <a:xfrm>
            <a:off x="8400256" y="1683946"/>
            <a:ext cx="3744416" cy="480131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{</a:t>
            </a:r>
          </a:p>
          <a:p>
            <a:r>
              <a:rPr lang="es-ES" altLang="en-US" sz="900" dirty="0"/>
              <a:t>   "</a:t>
            </a:r>
            <a:r>
              <a:rPr lang="es-ES" altLang="en-US" sz="900" dirty="0" err="1"/>
              <a:t>consommation</a:t>
            </a:r>
            <a:r>
              <a:rPr lang="es-ES" altLang="en-US" sz="900" dirty="0"/>
              <a:t>":</a:t>
            </a:r>
          </a:p>
          <a:p>
            <a:r>
              <a:rPr lang="es-ES" altLang="en-US" sz="900" dirty="0"/>
              <a:t>      {</a:t>
            </a:r>
          </a:p>
          <a:p>
            <a:r>
              <a:rPr lang="es-ES" altLang="en-US" sz="900" dirty="0"/>
              <a:t>         "codeRetour":"987845454",</a:t>
            </a:r>
          </a:p>
          <a:p>
            <a:r>
              <a:rPr lang="es-ES" altLang="en-US" sz="900" dirty="0"/>
              <a:t>         "cnie":"56",</a:t>
            </a:r>
          </a:p>
          <a:p>
            <a:r>
              <a:rPr lang="es-ES" altLang="en-US" sz="900" dirty="0"/>
              <a:t>         "</a:t>
            </a:r>
            <a:r>
              <a:rPr lang="es-ES" altLang="en-US" sz="900" dirty="0" err="1"/>
              <a:t>nomPrenom</a:t>
            </a:r>
            <a:r>
              <a:rPr lang="es-ES" altLang="en-US" sz="900" dirty="0"/>
              <a:t>":"</a:t>
            </a:r>
            <a:r>
              <a:rPr lang="es-ES" altLang="en-US" sz="900" dirty="0" err="1"/>
              <a:t>douma</a:t>
            </a:r>
            <a:r>
              <a:rPr lang="es-ES" altLang="en-US" sz="900" dirty="0"/>
              <a:t> amine",</a:t>
            </a:r>
          </a:p>
          <a:p>
            <a:r>
              <a:rPr lang="es-ES" altLang="en-US" sz="900" dirty="0"/>
              <a:t>         "prefecture":45,</a:t>
            </a:r>
          </a:p>
          <a:p>
            <a:r>
              <a:rPr lang="es-ES" altLang="en-US" sz="900" dirty="0"/>
              <a:t>         "commune":12,</a:t>
            </a:r>
          </a:p>
          <a:p>
            <a:r>
              <a:rPr lang="es-ES" altLang="en-US" sz="900" dirty="0"/>
              <a:t>         "quartier":65,</a:t>
            </a:r>
          </a:p>
          <a:p>
            <a:r>
              <a:rPr lang="es-ES" altLang="en-US" sz="900" dirty="0"/>
              <a:t>         "sousQuartier":658,</a:t>
            </a:r>
          </a:p>
          <a:p>
            <a:r>
              <a:rPr lang="es-ES" altLang="en-US" sz="900" dirty="0"/>
              <a:t>         "immeuble":6,</a:t>
            </a:r>
          </a:p>
          <a:p>
            <a:r>
              <a:rPr lang="es-ES" altLang="en-US" sz="900" dirty="0"/>
              <a:t>         "</a:t>
            </a:r>
            <a:r>
              <a:rPr lang="es-ES" altLang="en-US" sz="900" dirty="0" err="1"/>
              <a:t>complementAdresse</a:t>
            </a:r>
            <a:r>
              <a:rPr lang="es-ES" altLang="en-US" sz="900" dirty="0"/>
              <a:t>":"</a:t>
            </a:r>
            <a:r>
              <a:rPr lang="es-ES" altLang="en-US" sz="900" dirty="0" err="1"/>
              <a:t>oulfa</a:t>
            </a:r>
            <a:r>
              <a:rPr lang="es-ES" altLang="en-US" sz="900" dirty="0"/>
              <a:t> </a:t>
            </a:r>
            <a:r>
              <a:rPr lang="es-ES" altLang="en-US" sz="900" dirty="0" err="1"/>
              <a:t>casablanca</a:t>
            </a:r>
            <a:r>
              <a:rPr lang="es-ES" altLang="en-US" sz="900" dirty="0"/>
              <a:t>",</a:t>
            </a:r>
          </a:p>
          <a:p>
            <a:r>
              <a:rPr lang="es-ES" altLang="en-US" sz="900" dirty="0"/>
              <a:t>         "</a:t>
            </a:r>
            <a:r>
              <a:rPr lang="es-ES" altLang="en-US" sz="900" dirty="0" err="1"/>
              <a:t>listeConsommations</a:t>
            </a:r>
            <a:r>
              <a:rPr lang="es-ES" altLang="en-US" sz="900" dirty="0"/>
              <a:t>":[</a:t>
            </a:r>
          </a:p>
          <a:p>
            <a:r>
              <a:rPr lang="es-ES" altLang="en-US" sz="900" dirty="0"/>
              <a:t>            {</a:t>
            </a:r>
          </a:p>
          <a:p>
            <a:r>
              <a:rPr lang="es-ES" altLang="en-US" sz="900" dirty="0"/>
              <a:t>               "mois":3,</a:t>
            </a:r>
          </a:p>
          <a:p>
            <a:r>
              <a:rPr lang="es-ES" altLang="en-US" sz="900" dirty="0"/>
              <a:t>               "année":2021,</a:t>
            </a:r>
          </a:p>
          <a:p>
            <a:r>
              <a:rPr lang="es-ES" altLang="en-US" sz="900" dirty="0"/>
              <a:t>               "montantEau":250,</a:t>
            </a:r>
          </a:p>
          <a:p>
            <a:r>
              <a:rPr lang="es-ES" altLang="en-US" sz="900" dirty="0"/>
              <a:t>               "montantElectricite":300</a:t>
            </a:r>
          </a:p>
          <a:p>
            <a:r>
              <a:rPr lang="es-ES" altLang="en-US" sz="900" dirty="0"/>
              <a:t>            }</a:t>
            </a:r>
          </a:p>
          <a:p>
            <a:r>
              <a:rPr lang="es-ES" altLang="en-US" sz="900" dirty="0"/>
              <a:t>         ],</a:t>
            </a:r>
          </a:p>
          <a:p>
            <a:r>
              <a:rPr lang="es-ES" altLang="en-US" sz="900" dirty="0"/>
              <a:t>         "</a:t>
            </a:r>
            <a:r>
              <a:rPr lang="es-ES" altLang="en-US" sz="900" dirty="0" err="1"/>
              <a:t>listeConsommationAutresRésidences</a:t>
            </a:r>
            <a:r>
              <a:rPr lang="es-ES" altLang="en-US" sz="900" dirty="0"/>
              <a:t>":[</a:t>
            </a:r>
          </a:p>
          <a:p>
            <a:r>
              <a:rPr lang="es-ES" altLang="en-US" sz="900" dirty="0"/>
              <a:t>            {</a:t>
            </a:r>
          </a:p>
          <a:p>
            <a:r>
              <a:rPr lang="es-ES" altLang="en-US" sz="900" dirty="0"/>
              <a:t>               "cil":4589,</a:t>
            </a:r>
          </a:p>
          <a:p>
            <a:r>
              <a:rPr lang="es-ES" altLang="en-US" sz="900" dirty="0"/>
              <a:t>               "</a:t>
            </a:r>
            <a:r>
              <a:rPr lang="es-ES" altLang="en-US" sz="900" dirty="0" err="1"/>
              <a:t>adresse</a:t>
            </a:r>
            <a:r>
              <a:rPr lang="es-ES" altLang="en-US" sz="900" dirty="0"/>
              <a:t>":"</a:t>
            </a:r>
            <a:r>
              <a:rPr lang="es-ES" altLang="en-US" sz="900" dirty="0" err="1"/>
              <a:t>oulfa</a:t>
            </a:r>
            <a:r>
              <a:rPr lang="es-ES" altLang="en-US" sz="900" dirty="0"/>
              <a:t> </a:t>
            </a:r>
            <a:r>
              <a:rPr lang="es-ES" altLang="en-US" sz="900" dirty="0" err="1"/>
              <a:t>casablanca</a:t>
            </a:r>
            <a:r>
              <a:rPr lang="es-ES" altLang="en-US" sz="900" dirty="0"/>
              <a:t>",</a:t>
            </a:r>
          </a:p>
          <a:p>
            <a:r>
              <a:rPr lang="es-ES" altLang="en-US" sz="900" dirty="0"/>
              <a:t>               "commune":12,</a:t>
            </a:r>
          </a:p>
          <a:p>
            <a:r>
              <a:rPr lang="es-ES" altLang="en-US" sz="900" dirty="0"/>
              <a:t>               "mois":3,</a:t>
            </a:r>
          </a:p>
          <a:p>
            <a:r>
              <a:rPr lang="es-ES" altLang="en-US" sz="900" dirty="0"/>
              <a:t>               "année":2021,</a:t>
            </a:r>
          </a:p>
          <a:p>
            <a:r>
              <a:rPr lang="es-ES" altLang="en-US" sz="900" dirty="0"/>
              <a:t>               "montantEau":250,</a:t>
            </a:r>
          </a:p>
          <a:p>
            <a:r>
              <a:rPr lang="es-ES" altLang="en-US" sz="900" dirty="0"/>
              <a:t>               "montantElectricite":350</a:t>
            </a:r>
          </a:p>
          <a:p>
            <a:r>
              <a:rPr lang="es-ES" altLang="en-US" sz="900" dirty="0"/>
              <a:t>            }</a:t>
            </a:r>
          </a:p>
          <a:p>
            <a:r>
              <a:rPr lang="es-ES" altLang="en-US" sz="900" dirty="0"/>
              <a:t>         ]</a:t>
            </a:r>
          </a:p>
          <a:p>
            <a:r>
              <a:rPr lang="es-ES" altLang="en-US" sz="900" dirty="0"/>
              <a:t>      }</a:t>
            </a:r>
          </a:p>
          <a:p>
            <a:r>
              <a:rPr lang="es-ES" altLang="en-US" sz="900" dirty="0"/>
              <a:t>}</a:t>
            </a:r>
          </a:p>
        </p:txBody>
      </p:sp>
      <p:sp>
        <p:nvSpPr>
          <p:cNvPr id="87" name="Cuadro de texto 81">
            <a:extLst>
              <a:ext uri="{FF2B5EF4-FFF2-40B4-BE49-F238E27FC236}">
                <a16:creationId xmlns:a16="http://schemas.microsoft.com/office/drawing/2014/main" id="{987E6D24-EB65-4B8E-8057-5E29B914E4E4}"/>
              </a:ext>
            </a:extLst>
          </p:cNvPr>
          <p:cNvSpPr txBox="1"/>
          <p:nvPr/>
        </p:nvSpPr>
        <p:spPr>
          <a:xfrm>
            <a:off x="9912424" y="1683946"/>
            <a:ext cx="97980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s-ES" altLang="en-US" dirty="0" err="1"/>
              <a:t>Réponse</a:t>
            </a:r>
            <a:endParaRPr lang="es-ES" altLang="en-US" dirty="0"/>
          </a:p>
        </p:txBody>
      </p:sp>
      <p:sp>
        <p:nvSpPr>
          <p:cNvPr id="88" name="Cuadro de texto 85">
            <a:extLst>
              <a:ext uri="{FF2B5EF4-FFF2-40B4-BE49-F238E27FC236}">
                <a16:creationId xmlns:a16="http://schemas.microsoft.com/office/drawing/2014/main" id="{3A5F1B8D-D51D-4916-9A57-3B4CCBAFE805}"/>
              </a:ext>
            </a:extLst>
          </p:cNvPr>
          <p:cNvSpPr txBox="1"/>
          <p:nvPr/>
        </p:nvSpPr>
        <p:spPr>
          <a:xfrm>
            <a:off x="10933015" y="1753161"/>
            <a:ext cx="887730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REST/JSON</a:t>
            </a:r>
          </a:p>
        </p:txBody>
      </p:sp>
      <p:sp>
        <p:nvSpPr>
          <p:cNvPr id="31" name="Óvalo 15">
            <a:extLst>
              <a:ext uri="{FF2B5EF4-FFF2-40B4-BE49-F238E27FC236}">
                <a16:creationId xmlns:a16="http://schemas.microsoft.com/office/drawing/2014/main" id="{FC35327E-D25A-4C40-9262-EA0077A524B7}"/>
              </a:ext>
            </a:extLst>
          </p:cNvPr>
          <p:cNvSpPr/>
          <p:nvPr/>
        </p:nvSpPr>
        <p:spPr>
          <a:xfrm>
            <a:off x="650152" y="4598149"/>
            <a:ext cx="539115" cy="512445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 sz="400"/>
          </a:p>
        </p:txBody>
      </p:sp>
      <p:sp>
        <p:nvSpPr>
          <p:cNvPr id="32" name="Cuadro de texto 16">
            <a:extLst>
              <a:ext uri="{FF2B5EF4-FFF2-40B4-BE49-F238E27FC236}">
                <a16:creationId xmlns:a16="http://schemas.microsoft.com/office/drawing/2014/main" id="{AB54F465-A1F8-4325-A63A-BA23D7A4930F}"/>
              </a:ext>
            </a:extLst>
          </p:cNvPr>
          <p:cNvSpPr txBox="1"/>
          <p:nvPr/>
        </p:nvSpPr>
        <p:spPr>
          <a:xfrm>
            <a:off x="236961" y="5337250"/>
            <a:ext cx="1427480" cy="2298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s-ES" altLang="en-US" sz="900" dirty="0" err="1">
                <a:solidFill>
                  <a:schemeClr val="tx1"/>
                </a:solidFill>
              </a:rPr>
              <a:t>Nouveaux</a:t>
            </a:r>
            <a:r>
              <a:rPr lang="es-ES" altLang="en-US" sz="900" dirty="0">
                <a:solidFill>
                  <a:schemeClr val="tx1"/>
                </a:solidFill>
              </a:rPr>
              <a:t> </a:t>
            </a:r>
            <a:r>
              <a:rPr lang="es-ES" altLang="en-US" sz="900" dirty="0" err="1">
                <a:solidFill>
                  <a:schemeClr val="tx1"/>
                </a:solidFill>
              </a:rPr>
              <a:t>consommateurs</a:t>
            </a:r>
            <a:endParaRPr lang="es-ES" altLang="en-US" sz="900" dirty="0">
              <a:solidFill>
                <a:schemeClr val="tx1"/>
              </a:solidFill>
            </a:endParaRPr>
          </a:p>
        </p:txBody>
      </p:sp>
      <p:cxnSp>
        <p:nvCxnSpPr>
          <p:cNvPr id="33" name="Conector recto 23">
            <a:extLst>
              <a:ext uri="{FF2B5EF4-FFF2-40B4-BE49-F238E27FC236}">
                <a16:creationId xmlns:a16="http://schemas.microsoft.com/office/drawing/2014/main" id="{7F60B471-6F60-43F0-BB3F-4D951E4FF684}"/>
              </a:ext>
            </a:extLst>
          </p:cNvPr>
          <p:cNvCxnSpPr/>
          <p:nvPr/>
        </p:nvCxnSpPr>
        <p:spPr>
          <a:xfrm>
            <a:off x="920027" y="4189209"/>
            <a:ext cx="0" cy="339725"/>
          </a:xfrm>
          <a:prstGeom prst="line">
            <a:avLst/>
          </a:prstGeom>
          <a:ln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" name="Cuadro de texto 36">
            <a:extLst>
              <a:ext uri="{FF2B5EF4-FFF2-40B4-BE49-F238E27FC236}">
                <a16:creationId xmlns:a16="http://schemas.microsoft.com/office/drawing/2014/main" id="{830ACD60-39C8-4F39-9BC1-401C3F860CF6}"/>
              </a:ext>
            </a:extLst>
          </p:cNvPr>
          <p:cNvSpPr txBox="1"/>
          <p:nvPr/>
        </p:nvSpPr>
        <p:spPr>
          <a:xfrm>
            <a:off x="9084" y="1125774"/>
            <a:ext cx="12097344" cy="28700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s-ES" sz="1100" u="sng" kern="1400" dirty="0">
                <a:solidFill>
                  <a:srgbClr val="000000"/>
                </a:solidFill>
                <a:latin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hostname:port/consommation-services/v1/consommation?</a:t>
            </a:r>
            <a:r>
              <a:rPr lang="es-ES" sz="1100" u="sng" kern="1400" dirty="0">
                <a:solidFill>
                  <a:srgbClr val="000000"/>
                </a:solidFill>
                <a:latin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deAller=2212&amp;</a:t>
            </a:r>
            <a:r>
              <a:rPr lang="es-ES" sz="1100" u="sng" kern="1400" dirty="0">
                <a:solidFill>
                  <a:srgbClr val="000000"/>
                </a:solidFill>
                <a:latin typeface="Calibri" panose="020F0502020204030204" pitchFamily="34" charset="0"/>
              </a:rPr>
              <a:t>idcs=1111111111&amp;cnie=assar232&amp;cil=1212121&amp;commune=21&amp;dateDebut=12/1998&amp;dateFin</a:t>
            </a:r>
            <a:r>
              <a:rPr lang="es-ES" sz="1100" u="sng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=03/2011</a:t>
            </a:r>
            <a:endParaRPr lang="fr-FR" sz="1100" u="sng" dirty="0"/>
          </a:p>
        </p:txBody>
      </p:sp>
    </p:spTree>
    <p:extLst>
      <p:ext uri="{BB962C8B-B14F-4D97-AF65-F5344CB8AC3E}">
        <p14:creationId xmlns:p14="http://schemas.microsoft.com/office/powerpoint/2010/main" val="40131072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179"/>
          <p:cNvSpPr/>
          <p:nvPr/>
        </p:nvSpPr>
        <p:spPr>
          <a:xfrm>
            <a:off x="0" y="1107367"/>
            <a:ext cx="12192000" cy="4193842"/>
          </a:xfrm>
          <a:custGeom>
            <a:avLst/>
            <a:gdLst/>
            <a:ahLst/>
            <a:cxnLst/>
            <a:rect l="l" t="t" r="r" b="b"/>
            <a:pathLst>
              <a:path w="2322829" h="4482465">
                <a:moveTo>
                  <a:pt x="0" y="0"/>
                </a:moveTo>
                <a:lnTo>
                  <a:pt x="2322576" y="0"/>
                </a:lnTo>
                <a:lnTo>
                  <a:pt x="2322576" y="4482083"/>
                </a:lnTo>
                <a:lnTo>
                  <a:pt x="0" y="4482083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 lang="fr-FR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ym typeface="+mn-ea"/>
              </a:rPr>
              <a:t>Cas </a:t>
            </a:r>
            <a:r>
              <a:rPr lang="en-US" dirty="0" err="1">
                <a:sym typeface="+mn-ea"/>
              </a:rPr>
              <a:t>d’utilisation</a:t>
            </a:r>
            <a:r>
              <a:rPr lang="es-ES" altLang="en-US" dirty="0">
                <a:sym typeface="+mn-ea"/>
              </a:rPr>
              <a:t> </a:t>
            </a:r>
            <a:r>
              <a:rPr lang="fr-FR" altLang="en-US" dirty="0"/>
              <a:t>RSU</a:t>
            </a:r>
            <a:endParaRPr lang="en-US" dirty="0"/>
          </a:p>
        </p:txBody>
      </p:sp>
      <p:sp>
        <p:nvSpPr>
          <p:cNvPr id="3" name="Cuadro de texto 2"/>
          <p:cNvSpPr txBox="1"/>
          <p:nvPr/>
        </p:nvSpPr>
        <p:spPr>
          <a:xfrm>
            <a:off x="2216785" y="2202180"/>
            <a:ext cx="229044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altLang="en-US" dirty="0"/>
              <a:t>REDAL</a:t>
            </a:r>
            <a:endParaRPr lang="es-ES" altLang="en-US" b="1" dirty="0"/>
          </a:p>
          <a:p>
            <a:pPr algn="ctr"/>
            <a:r>
              <a:rPr lang="es-ES" altLang="en-US" b="1" dirty="0"/>
              <a:t>(</a:t>
            </a:r>
            <a:r>
              <a:rPr lang="es-ES" altLang="en-US" b="1" dirty="0" err="1"/>
              <a:t>consommation</a:t>
            </a:r>
            <a:r>
              <a:rPr lang="es-ES" altLang="en-US" b="1" dirty="0"/>
              <a:t>)</a:t>
            </a:r>
          </a:p>
        </p:txBody>
      </p:sp>
      <p:sp>
        <p:nvSpPr>
          <p:cNvPr id="4" name="Cuadro de texto 3"/>
          <p:cNvSpPr txBox="1"/>
          <p:nvPr/>
        </p:nvSpPr>
        <p:spPr>
          <a:xfrm>
            <a:off x="6609080" y="2202180"/>
            <a:ext cx="229044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n-US" b="1"/>
              <a:t>API</a:t>
            </a:r>
          </a:p>
        </p:txBody>
      </p:sp>
      <p:sp>
        <p:nvSpPr>
          <p:cNvPr id="9" name="Cuadro de texto 8"/>
          <p:cNvSpPr txBox="1"/>
          <p:nvPr/>
        </p:nvSpPr>
        <p:spPr>
          <a:xfrm>
            <a:off x="6769734" y="2493010"/>
            <a:ext cx="4150801" cy="480131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s-ES" altLang="en-US" sz="900" dirty="0"/>
              <a:t>{</a:t>
            </a:r>
          </a:p>
          <a:p>
            <a:r>
              <a:rPr lang="es-ES" altLang="en-US" sz="900" dirty="0"/>
              <a:t>   "</a:t>
            </a:r>
            <a:r>
              <a:rPr lang="es-ES" altLang="en-US" sz="900" dirty="0" err="1"/>
              <a:t>consommation</a:t>
            </a:r>
            <a:r>
              <a:rPr lang="es-ES" altLang="en-US" sz="900" dirty="0"/>
              <a:t>":</a:t>
            </a:r>
          </a:p>
          <a:p>
            <a:r>
              <a:rPr lang="es-ES" altLang="en-US" sz="900" dirty="0"/>
              <a:t>      {</a:t>
            </a:r>
          </a:p>
          <a:p>
            <a:r>
              <a:rPr lang="es-ES" altLang="en-US" sz="900" dirty="0"/>
              <a:t>         "codeRetour":"987845454",</a:t>
            </a:r>
          </a:p>
          <a:p>
            <a:r>
              <a:rPr lang="es-ES" altLang="en-US" sz="900" dirty="0"/>
              <a:t>         "cnie":"56",</a:t>
            </a:r>
          </a:p>
          <a:p>
            <a:r>
              <a:rPr lang="es-ES" altLang="en-US" sz="900" dirty="0"/>
              <a:t>         "</a:t>
            </a:r>
            <a:r>
              <a:rPr lang="es-ES" altLang="en-US" sz="900" dirty="0" err="1"/>
              <a:t>nomPrenom</a:t>
            </a:r>
            <a:r>
              <a:rPr lang="es-ES" altLang="en-US" sz="900" dirty="0"/>
              <a:t>":"</a:t>
            </a:r>
            <a:r>
              <a:rPr lang="es-ES" altLang="en-US" sz="900" dirty="0" err="1"/>
              <a:t>douma</a:t>
            </a:r>
            <a:r>
              <a:rPr lang="es-ES" altLang="en-US" sz="900" dirty="0"/>
              <a:t> amine",</a:t>
            </a:r>
          </a:p>
          <a:p>
            <a:r>
              <a:rPr lang="es-ES" altLang="en-US" sz="900" dirty="0"/>
              <a:t>         "prefecture":45,</a:t>
            </a:r>
          </a:p>
          <a:p>
            <a:r>
              <a:rPr lang="es-ES" altLang="en-US" sz="900" dirty="0"/>
              <a:t>         "commune":12,</a:t>
            </a:r>
          </a:p>
          <a:p>
            <a:r>
              <a:rPr lang="es-ES" altLang="en-US" sz="900" dirty="0"/>
              <a:t>         "quartier":65,</a:t>
            </a:r>
          </a:p>
          <a:p>
            <a:r>
              <a:rPr lang="es-ES" altLang="en-US" sz="900" dirty="0"/>
              <a:t>         "sousQuartier":658,</a:t>
            </a:r>
          </a:p>
          <a:p>
            <a:r>
              <a:rPr lang="es-ES" altLang="en-US" sz="900" dirty="0"/>
              <a:t>         "immeuble":6,</a:t>
            </a:r>
          </a:p>
          <a:p>
            <a:r>
              <a:rPr lang="es-ES" altLang="en-US" sz="900" dirty="0"/>
              <a:t>         "</a:t>
            </a:r>
            <a:r>
              <a:rPr lang="es-ES" altLang="en-US" sz="900" dirty="0" err="1"/>
              <a:t>complementAdresse</a:t>
            </a:r>
            <a:r>
              <a:rPr lang="es-ES" altLang="en-US" sz="900" dirty="0"/>
              <a:t>":"</a:t>
            </a:r>
            <a:r>
              <a:rPr lang="es-ES" altLang="en-US" sz="900" dirty="0" err="1"/>
              <a:t>oulfa</a:t>
            </a:r>
            <a:r>
              <a:rPr lang="es-ES" altLang="en-US" sz="900" dirty="0"/>
              <a:t> </a:t>
            </a:r>
            <a:r>
              <a:rPr lang="es-ES" altLang="en-US" sz="900" dirty="0" err="1"/>
              <a:t>casablanca</a:t>
            </a:r>
            <a:r>
              <a:rPr lang="es-ES" altLang="en-US" sz="900" dirty="0"/>
              <a:t>",</a:t>
            </a:r>
          </a:p>
          <a:p>
            <a:r>
              <a:rPr lang="es-ES" altLang="en-US" sz="900" dirty="0"/>
              <a:t>         "</a:t>
            </a:r>
            <a:r>
              <a:rPr lang="es-ES" altLang="en-US" sz="900" dirty="0" err="1"/>
              <a:t>listeConsommations</a:t>
            </a:r>
            <a:r>
              <a:rPr lang="es-ES" altLang="en-US" sz="900" dirty="0"/>
              <a:t>":[</a:t>
            </a:r>
          </a:p>
          <a:p>
            <a:r>
              <a:rPr lang="es-ES" altLang="en-US" sz="900" dirty="0"/>
              <a:t>            {</a:t>
            </a:r>
          </a:p>
          <a:p>
            <a:r>
              <a:rPr lang="es-ES" altLang="en-US" sz="900" dirty="0"/>
              <a:t>               "mois":3,</a:t>
            </a:r>
          </a:p>
          <a:p>
            <a:r>
              <a:rPr lang="es-ES" altLang="en-US" sz="900" dirty="0"/>
              <a:t>               "année":2021,</a:t>
            </a:r>
          </a:p>
          <a:p>
            <a:r>
              <a:rPr lang="es-ES" altLang="en-US" sz="900" dirty="0"/>
              <a:t>               "montantEau":250,</a:t>
            </a:r>
          </a:p>
          <a:p>
            <a:r>
              <a:rPr lang="es-ES" altLang="en-US" sz="900" dirty="0"/>
              <a:t>               "montantElectricite":300</a:t>
            </a:r>
          </a:p>
          <a:p>
            <a:r>
              <a:rPr lang="es-ES" altLang="en-US" sz="900" dirty="0"/>
              <a:t>            }</a:t>
            </a:r>
          </a:p>
          <a:p>
            <a:r>
              <a:rPr lang="es-ES" altLang="en-US" sz="900" dirty="0"/>
              <a:t>         ],</a:t>
            </a:r>
          </a:p>
          <a:p>
            <a:r>
              <a:rPr lang="es-ES" altLang="en-US" sz="900" dirty="0"/>
              <a:t>         "</a:t>
            </a:r>
            <a:r>
              <a:rPr lang="es-ES" altLang="en-US" sz="900" dirty="0" err="1"/>
              <a:t>listeConsommationAutresRésidences</a:t>
            </a:r>
            <a:r>
              <a:rPr lang="es-ES" altLang="en-US" sz="900" dirty="0"/>
              <a:t>":[</a:t>
            </a:r>
          </a:p>
          <a:p>
            <a:r>
              <a:rPr lang="es-ES" altLang="en-US" sz="900" dirty="0"/>
              <a:t>            {</a:t>
            </a:r>
          </a:p>
          <a:p>
            <a:r>
              <a:rPr lang="es-ES" altLang="en-US" sz="900" dirty="0"/>
              <a:t>               "cil":4589,</a:t>
            </a:r>
          </a:p>
          <a:p>
            <a:r>
              <a:rPr lang="es-ES" altLang="en-US" sz="900" dirty="0"/>
              <a:t>               "</a:t>
            </a:r>
            <a:r>
              <a:rPr lang="es-ES" altLang="en-US" sz="900" dirty="0" err="1"/>
              <a:t>adresse</a:t>
            </a:r>
            <a:r>
              <a:rPr lang="es-ES" altLang="en-US" sz="900" dirty="0"/>
              <a:t>":"</a:t>
            </a:r>
            <a:r>
              <a:rPr lang="es-ES" altLang="en-US" sz="900" dirty="0" err="1"/>
              <a:t>oulfa</a:t>
            </a:r>
            <a:r>
              <a:rPr lang="es-ES" altLang="en-US" sz="900" dirty="0"/>
              <a:t> </a:t>
            </a:r>
            <a:r>
              <a:rPr lang="es-ES" altLang="en-US" sz="900" dirty="0" err="1"/>
              <a:t>casablanca</a:t>
            </a:r>
            <a:r>
              <a:rPr lang="es-ES" altLang="en-US" sz="900" dirty="0"/>
              <a:t>",</a:t>
            </a:r>
          </a:p>
          <a:p>
            <a:r>
              <a:rPr lang="es-ES" altLang="en-US" sz="900" dirty="0"/>
              <a:t>               "commune":12,</a:t>
            </a:r>
          </a:p>
          <a:p>
            <a:r>
              <a:rPr lang="es-ES" altLang="en-US" sz="900" dirty="0"/>
              <a:t>               "mois":3,</a:t>
            </a:r>
          </a:p>
          <a:p>
            <a:r>
              <a:rPr lang="es-ES" altLang="en-US" sz="900" dirty="0"/>
              <a:t>               "année":2021,</a:t>
            </a:r>
          </a:p>
          <a:p>
            <a:r>
              <a:rPr lang="es-ES" altLang="en-US" sz="900" dirty="0"/>
              <a:t>               "montantEau":250,</a:t>
            </a:r>
          </a:p>
          <a:p>
            <a:r>
              <a:rPr lang="es-ES" altLang="en-US" sz="900" dirty="0"/>
              <a:t>               "montantElectricite":350</a:t>
            </a:r>
          </a:p>
          <a:p>
            <a:r>
              <a:rPr lang="es-ES" altLang="en-US" sz="900" dirty="0"/>
              <a:t>            }</a:t>
            </a:r>
          </a:p>
          <a:p>
            <a:r>
              <a:rPr lang="es-ES" altLang="en-US" sz="900" dirty="0"/>
              <a:t>         ]</a:t>
            </a:r>
          </a:p>
          <a:p>
            <a:r>
              <a:rPr lang="es-ES" altLang="en-US" sz="900" dirty="0"/>
              <a:t>      }</a:t>
            </a:r>
          </a:p>
          <a:p>
            <a:r>
              <a:rPr lang="es-ES" altLang="en-US" sz="900" dirty="0"/>
              <a:t>}</a:t>
            </a:r>
          </a:p>
        </p:txBody>
      </p:sp>
      <p:sp>
        <p:nvSpPr>
          <p:cNvPr id="10" name="Cuadro de texto 9"/>
          <p:cNvSpPr txBox="1"/>
          <p:nvPr/>
        </p:nvSpPr>
        <p:spPr>
          <a:xfrm>
            <a:off x="263525" y="1340485"/>
            <a:ext cx="11377930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s-ES" altLang="en-US" sz="1800" b="1" dirty="0" err="1"/>
              <a:t>recuperer-consommation-donnees</a:t>
            </a:r>
            <a:endParaRPr lang="es-ES" altLang="en-US" sz="1800" b="1" dirty="0"/>
          </a:p>
          <a:p>
            <a:r>
              <a:rPr lang="es-ES" altLang="en-US" dirty="0" err="1">
                <a:sym typeface="+mn-ea"/>
              </a:rPr>
              <a:t>Il</a:t>
            </a:r>
            <a:r>
              <a:rPr lang="es-ES" altLang="en-US" dirty="0">
                <a:sym typeface="+mn-ea"/>
              </a:rPr>
              <a:t> </a:t>
            </a:r>
            <a:r>
              <a:rPr lang="es-ES" altLang="en-US" dirty="0" err="1">
                <a:sym typeface="+mn-ea"/>
              </a:rPr>
              <a:t>s'agit</a:t>
            </a:r>
            <a:r>
              <a:rPr lang="es-ES" altLang="en-US" dirty="0">
                <a:sym typeface="+mn-ea"/>
              </a:rPr>
              <a:t> </a:t>
            </a:r>
            <a:r>
              <a:rPr lang="es-ES" altLang="en-US" dirty="0" err="1">
                <a:sym typeface="+mn-ea"/>
              </a:rPr>
              <a:t>d'une</a:t>
            </a:r>
            <a:r>
              <a:rPr lang="es-ES" altLang="en-US" dirty="0">
                <a:sym typeface="+mn-ea"/>
              </a:rPr>
              <a:t> </a:t>
            </a:r>
            <a:r>
              <a:rPr lang="es-ES" altLang="en-US" dirty="0" err="1">
                <a:sym typeface="+mn-ea"/>
              </a:rPr>
              <a:t>fonction</a:t>
            </a:r>
            <a:r>
              <a:rPr lang="es-ES" altLang="en-US" dirty="0">
                <a:sym typeface="+mn-ea"/>
              </a:rPr>
              <a:t> qui </a:t>
            </a:r>
            <a:r>
              <a:rPr lang="es-ES" altLang="en-US" dirty="0" err="1">
                <a:sym typeface="+mn-ea"/>
              </a:rPr>
              <a:t>vous</a:t>
            </a:r>
            <a:r>
              <a:rPr lang="es-ES" altLang="en-US" dirty="0">
                <a:sym typeface="+mn-ea"/>
              </a:rPr>
              <a:t> </a:t>
            </a:r>
            <a:r>
              <a:rPr lang="es-ES" altLang="en-US" dirty="0" err="1">
                <a:sym typeface="+mn-ea"/>
              </a:rPr>
              <a:t>permet</a:t>
            </a:r>
            <a:r>
              <a:rPr lang="es-ES" altLang="en-US" dirty="0">
                <a:sym typeface="+mn-ea"/>
              </a:rPr>
              <a:t> de </a:t>
            </a:r>
            <a:r>
              <a:rPr lang="es-ES" altLang="en-US" dirty="0" err="1">
                <a:sym typeface="+mn-ea"/>
              </a:rPr>
              <a:t>récupérer</a:t>
            </a:r>
            <a:r>
              <a:rPr lang="es-ES" altLang="en-US" dirty="0">
                <a:sym typeface="+mn-ea"/>
              </a:rPr>
              <a:t> la liste des </a:t>
            </a:r>
            <a:r>
              <a:rPr lang="es-ES" altLang="en-US" dirty="0" err="1">
                <a:sym typeface="+mn-ea"/>
              </a:rPr>
              <a:t>consommations</a:t>
            </a:r>
            <a:r>
              <a:rPr lang="es-ES" altLang="en-US" dirty="0">
                <a:sym typeface="+mn-ea"/>
              </a:rPr>
              <a:t>.</a:t>
            </a:r>
            <a:endParaRPr lang="es-ES" altLang="en-US" dirty="0"/>
          </a:p>
        </p:txBody>
      </p:sp>
      <p:sp>
        <p:nvSpPr>
          <p:cNvPr id="5" name="Cuadro de texto 4"/>
          <p:cNvSpPr txBox="1"/>
          <p:nvPr/>
        </p:nvSpPr>
        <p:spPr>
          <a:xfrm>
            <a:off x="2827655" y="2816225"/>
            <a:ext cx="1883849" cy="3046988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CodeRetour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string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CNIE":"</a:t>
            </a:r>
            <a:r>
              <a:rPr lang="es-ES" altLang="en-US" sz="800" dirty="0" err="1">
                <a:sym typeface="+mn-ea"/>
              </a:rPr>
              <a:t>string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NomPrenom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string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Prefectur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Commun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Quartier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Sousquartier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Immeubl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ComplementAdresse</a:t>
            </a:r>
            <a:r>
              <a:rPr lang="es-ES" altLang="en-US" sz="800" dirty="0">
                <a:sym typeface="+mn-ea"/>
              </a:rPr>
              <a:t>": "</a:t>
            </a:r>
            <a:r>
              <a:rPr lang="es-ES" altLang="en-US" sz="800" dirty="0" err="1">
                <a:sym typeface="+mn-ea"/>
              </a:rPr>
              <a:t>string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ListeConsommations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Mois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integ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Anné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integ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MontantEau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MontantElectricit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ListeConsommationAutresRésidences</a:t>
            </a:r>
            <a:r>
              <a:rPr lang="es-ES" altLang="en-US" sz="800" dirty="0">
                <a:sym typeface="+mn-ea"/>
              </a:rPr>
              <a:t>  "</a:t>
            </a:r>
          </a:p>
          <a:p>
            <a:pPr algn="l"/>
            <a:r>
              <a:rPr lang="es-ES" altLang="en-US" sz="800" dirty="0">
                <a:sym typeface="+mn-ea"/>
              </a:rPr>
              <a:t> "CIL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 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Adress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string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Commun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Mois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integ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Anné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integ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MontantEau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MontantElectricit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 </a:t>
            </a:r>
          </a:p>
          <a:p>
            <a:endParaRPr lang="es-ES" altLang="en-US" sz="800" dirty="0">
              <a:sym typeface="+mn-ea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ángulo 19"/>
          <p:cNvSpPr/>
          <p:nvPr/>
        </p:nvSpPr>
        <p:spPr>
          <a:xfrm>
            <a:off x="2508340" y="2396248"/>
            <a:ext cx="2040448" cy="22609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ym typeface="+mn-ea"/>
              </a:rPr>
              <a:t>Cas </a:t>
            </a:r>
            <a:r>
              <a:rPr lang="en-US" dirty="0" err="1">
                <a:sym typeface="+mn-ea"/>
              </a:rPr>
              <a:t>d’utilisation</a:t>
            </a:r>
            <a:r>
              <a:rPr lang="es-ES" altLang="en-US" dirty="0">
                <a:sym typeface="+mn-ea"/>
              </a:rPr>
              <a:t> </a:t>
            </a:r>
            <a:r>
              <a:rPr lang="fr-FR" altLang="en-US" dirty="0"/>
              <a:t>RSU</a:t>
            </a:r>
            <a:endParaRPr lang="en-US" dirty="0"/>
          </a:p>
        </p:txBody>
      </p:sp>
      <p:sp>
        <p:nvSpPr>
          <p:cNvPr id="52" name="Rectángulo 51"/>
          <p:cNvSpPr/>
          <p:nvPr/>
        </p:nvSpPr>
        <p:spPr>
          <a:xfrm>
            <a:off x="5429075" y="2445477"/>
            <a:ext cx="2821230" cy="188774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/>
          </a:p>
        </p:txBody>
      </p:sp>
      <p:sp>
        <p:nvSpPr>
          <p:cNvPr id="25" name="Rectángulo 24"/>
          <p:cNvSpPr/>
          <p:nvPr/>
        </p:nvSpPr>
        <p:spPr>
          <a:xfrm>
            <a:off x="231079" y="2396248"/>
            <a:ext cx="1433362" cy="3265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/>
          </a:p>
        </p:txBody>
      </p:sp>
      <p:sp>
        <p:nvSpPr>
          <p:cNvPr id="26" name="Cuadro de texto 25"/>
          <p:cNvSpPr txBox="1"/>
          <p:nvPr/>
        </p:nvSpPr>
        <p:spPr>
          <a:xfrm>
            <a:off x="271705" y="2641309"/>
            <a:ext cx="13927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n-US" sz="1050" dirty="0"/>
              <a:t>CONSOMMATEURS</a:t>
            </a:r>
          </a:p>
        </p:txBody>
      </p:sp>
      <p:sp>
        <p:nvSpPr>
          <p:cNvPr id="30" name="Nube 29"/>
          <p:cNvSpPr/>
          <p:nvPr/>
        </p:nvSpPr>
        <p:spPr>
          <a:xfrm>
            <a:off x="3067656" y="3110017"/>
            <a:ext cx="974090" cy="760730"/>
          </a:xfrm>
          <a:prstGeom prst="cloud">
            <a:avLst/>
          </a:prstGeom>
          <a:solidFill>
            <a:schemeClr val="tx2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ES" altLang="en-US" dirty="0"/>
              <a:t>API</a:t>
            </a:r>
          </a:p>
        </p:txBody>
      </p:sp>
      <p:sp>
        <p:nvSpPr>
          <p:cNvPr id="35" name="Cuadro de texto 34"/>
          <p:cNvSpPr txBox="1"/>
          <p:nvPr/>
        </p:nvSpPr>
        <p:spPr>
          <a:xfrm>
            <a:off x="2614936" y="4030385"/>
            <a:ext cx="18725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" altLang="en-US" sz="900" dirty="0" err="1"/>
              <a:t>recuperer-consommations-specific</a:t>
            </a:r>
            <a:endParaRPr lang="es-ES" altLang="en-US" sz="900" dirty="0"/>
          </a:p>
        </p:txBody>
      </p:sp>
      <p:sp>
        <p:nvSpPr>
          <p:cNvPr id="41" name="Óvalo 40"/>
          <p:cNvSpPr/>
          <p:nvPr/>
        </p:nvSpPr>
        <p:spPr>
          <a:xfrm>
            <a:off x="6394151" y="2985001"/>
            <a:ext cx="784860" cy="772160"/>
          </a:xfrm>
          <a:prstGeom prst="ellipse">
            <a:avLst/>
          </a:prstGeom>
          <a:solidFill>
            <a:schemeClr val="accent3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 sz="600">
              <a:sym typeface="+mn-ea"/>
            </a:endParaRPr>
          </a:p>
        </p:txBody>
      </p:sp>
      <p:cxnSp>
        <p:nvCxnSpPr>
          <p:cNvPr id="44" name="Conector recto de flecha 43"/>
          <p:cNvCxnSpPr>
            <a:cxnSpLocks/>
          </p:cNvCxnSpPr>
          <p:nvPr/>
        </p:nvCxnSpPr>
        <p:spPr>
          <a:xfrm flipV="1">
            <a:off x="1258464" y="3469119"/>
            <a:ext cx="1745864" cy="11754"/>
          </a:xfrm>
          <a:prstGeom prst="straightConnector1">
            <a:avLst/>
          </a:prstGeom>
          <a:ln w="19050">
            <a:solidFill>
              <a:srgbClr val="0070C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uadro de texto 48"/>
          <p:cNvSpPr txBox="1"/>
          <p:nvPr/>
        </p:nvSpPr>
        <p:spPr>
          <a:xfrm>
            <a:off x="6348308" y="3852877"/>
            <a:ext cx="9637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fr-FR" altLang="en-US" sz="1000" dirty="0"/>
              <a:t>consommation</a:t>
            </a:r>
            <a:endParaRPr lang="es-ES" altLang="en-US" sz="1000" dirty="0"/>
          </a:p>
        </p:txBody>
      </p:sp>
      <p:sp>
        <p:nvSpPr>
          <p:cNvPr id="53" name="Cuadro de texto 52"/>
          <p:cNvSpPr txBox="1"/>
          <p:nvPr/>
        </p:nvSpPr>
        <p:spPr>
          <a:xfrm>
            <a:off x="5933629" y="2616701"/>
            <a:ext cx="179387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n-US" dirty="0"/>
              <a:t>REDAL</a:t>
            </a:r>
          </a:p>
        </p:txBody>
      </p:sp>
      <p:sp>
        <p:nvSpPr>
          <p:cNvPr id="11" name="Cuadro de texto 10"/>
          <p:cNvSpPr txBox="1"/>
          <p:nvPr/>
        </p:nvSpPr>
        <p:spPr>
          <a:xfrm>
            <a:off x="6437424" y="3246838"/>
            <a:ext cx="785495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 err="1">
                <a:solidFill>
                  <a:schemeClr val="bg1"/>
                </a:solidFill>
              </a:rPr>
              <a:t>Webservice</a:t>
            </a:r>
            <a:endParaRPr lang="es-ES" altLang="en-US" sz="900" dirty="0">
              <a:solidFill>
                <a:schemeClr val="bg1"/>
              </a:solidFill>
            </a:endParaRPr>
          </a:p>
        </p:txBody>
      </p:sp>
      <p:cxnSp>
        <p:nvCxnSpPr>
          <p:cNvPr id="61" name="Conector recto de flecha 60"/>
          <p:cNvCxnSpPr>
            <a:cxnSpLocks/>
          </p:cNvCxnSpPr>
          <p:nvPr/>
        </p:nvCxnSpPr>
        <p:spPr>
          <a:xfrm flipV="1">
            <a:off x="4118848" y="3389541"/>
            <a:ext cx="2150724" cy="87963"/>
          </a:xfrm>
          <a:prstGeom prst="straightConnector1">
            <a:avLst/>
          </a:prstGeom>
          <a:ln w="19050">
            <a:solidFill>
              <a:srgbClr val="0070C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Cuadro de texto 70"/>
          <p:cNvSpPr txBox="1"/>
          <p:nvPr/>
        </p:nvSpPr>
        <p:spPr>
          <a:xfrm>
            <a:off x="1834565" y="3522486"/>
            <a:ext cx="474345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GET</a:t>
            </a:r>
          </a:p>
        </p:txBody>
      </p:sp>
      <p:sp>
        <p:nvSpPr>
          <p:cNvPr id="21" name="Cuadro de texto 20"/>
          <p:cNvSpPr txBox="1"/>
          <p:nvPr/>
        </p:nvSpPr>
        <p:spPr>
          <a:xfrm>
            <a:off x="2324232" y="2678682"/>
            <a:ext cx="23772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n-US" sz="1000" b="1" dirty="0" err="1">
                <a:sym typeface="+mn-ea"/>
              </a:rPr>
              <a:t>Plateforme</a:t>
            </a:r>
            <a:r>
              <a:rPr lang="es-ES" altLang="en-US" sz="1000" b="1" dirty="0">
                <a:sym typeface="+mn-ea"/>
              </a:rPr>
              <a:t> </a:t>
            </a:r>
            <a:r>
              <a:rPr lang="es-ES" altLang="en-US" sz="1000" b="1" dirty="0" err="1">
                <a:sym typeface="+mn-ea"/>
              </a:rPr>
              <a:t>d’interopérabilité</a:t>
            </a:r>
            <a:endParaRPr lang="es-ES" altLang="en-US" sz="1000" b="1" dirty="0">
              <a:sym typeface="+mn-ea"/>
            </a:endParaRPr>
          </a:p>
          <a:p>
            <a:pPr algn="ctr"/>
            <a:endParaRPr lang="es-ES" altLang="en-US" sz="1400" b="1" dirty="0">
              <a:sym typeface="+mn-ea"/>
            </a:endParaRPr>
          </a:p>
        </p:txBody>
      </p:sp>
      <p:sp>
        <p:nvSpPr>
          <p:cNvPr id="23" name="Cuadro de texto 22"/>
          <p:cNvSpPr txBox="1"/>
          <p:nvPr/>
        </p:nvSpPr>
        <p:spPr>
          <a:xfrm>
            <a:off x="4638501" y="3189798"/>
            <a:ext cx="805180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REST/JSON</a:t>
            </a:r>
          </a:p>
        </p:txBody>
      </p:sp>
      <p:sp>
        <p:nvSpPr>
          <p:cNvPr id="29" name="Cuadro de texto 28"/>
          <p:cNvSpPr txBox="1"/>
          <p:nvPr/>
        </p:nvSpPr>
        <p:spPr>
          <a:xfrm>
            <a:off x="4792706" y="3407551"/>
            <a:ext cx="474345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GET</a:t>
            </a:r>
          </a:p>
        </p:txBody>
      </p:sp>
      <p:sp>
        <p:nvSpPr>
          <p:cNvPr id="54" name="Cuadro de texto 53"/>
          <p:cNvSpPr txBox="1"/>
          <p:nvPr/>
        </p:nvSpPr>
        <p:spPr>
          <a:xfrm>
            <a:off x="1660731" y="3212532"/>
            <a:ext cx="805180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REST/JSON</a:t>
            </a:r>
          </a:p>
        </p:txBody>
      </p:sp>
      <p:sp>
        <p:nvSpPr>
          <p:cNvPr id="8" name="Óvalo 7"/>
          <p:cNvSpPr/>
          <p:nvPr/>
        </p:nvSpPr>
        <p:spPr>
          <a:xfrm>
            <a:off x="670720" y="3212896"/>
            <a:ext cx="539115" cy="512445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 sz="700"/>
          </a:p>
        </p:txBody>
      </p:sp>
      <p:sp>
        <p:nvSpPr>
          <p:cNvPr id="14" name="Cuadro de texto 13"/>
          <p:cNvSpPr txBox="1"/>
          <p:nvPr/>
        </p:nvSpPr>
        <p:spPr>
          <a:xfrm>
            <a:off x="742728" y="3890939"/>
            <a:ext cx="3983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" altLang="en-US" sz="900" dirty="0">
                <a:solidFill>
                  <a:schemeClr val="tx1"/>
                </a:solidFill>
              </a:rPr>
              <a:t>RSU</a:t>
            </a:r>
          </a:p>
        </p:txBody>
      </p:sp>
      <p:sp>
        <p:nvSpPr>
          <p:cNvPr id="68" name="Cuadro de texto 36">
            <a:extLst>
              <a:ext uri="{FF2B5EF4-FFF2-40B4-BE49-F238E27FC236}">
                <a16:creationId xmlns:a16="http://schemas.microsoft.com/office/drawing/2014/main" id="{95036416-1EE0-4D21-A9C9-AA23F06B2B79}"/>
              </a:ext>
            </a:extLst>
          </p:cNvPr>
          <p:cNvSpPr txBox="1"/>
          <p:nvPr/>
        </p:nvSpPr>
        <p:spPr>
          <a:xfrm>
            <a:off x="9084" y="988336"/>
            <a:ext cx="12097344" cy="28700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s-ES" sz="1100" u="sng" kern="1400" dirty="0">
                <a:solidFill>
                  <a:srgbClr val="000000"/>
                </a:solidFill>
                <a:latin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hostname:port/consommation-services/v1/consommation/specific?</a:t>
            </a:r>
            <a:r>
              <a:rPr lang="es-ES" sz="1100" u="sng" kern="1400" dirty="0">
                <a:solidFill>
                  <a:srgbClr val="000000"/>
                </a:solidFill>
                <a:latin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deAller=2212&amp;</a:t>
            </a:r>
            <a:r>
              <a:rPr lang="es-ES" sz="1100" u="sng" kern="1400" dirty="0">
                <a:solidFill>
                  <a:srgbClr val="000000"/>
                </a:solidFill>
                <a:latin typeface="Calibri" panose="020F0502020204030204" pitchFamily="34" charset="0"/>
              </a:rPr>
              <a:t>idcs=1111111111&amp;cnie=assar232&amp;cil=1212121&amp;commune=21&amp;dateDebut=12/1998&amp;dateFin</a:t>
            </a:r>
            <a:r>
              <a:rPr lang="es-ES" sz="1100" u="sng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=03/2011</a:t>
            </a:r>
            <a:endParaRPr lang="fr-FR" sz="1100" u="sng" dirty="0"/>
          </a:p>
        </p:txBody>
      </p:sp>
      <p:sp>
        <p:nvSpPr>
          <p:cNvPr id="84" name="Cuadro de texto 82">
            <a:extLst>
              <a:ext uri="{FF2B5EF4-FFF2-40B4-BE49-F238E27FC236}">
                <a16:creationId xmlns:a16="http://schemas.microsoft.com/office/drawing/2014/main" id="{84D50D84-0C3F-4250-87A4-2BE210E48689}"/>
              </a:ext>
            </a:extLst>
          </p:cNvPr>
          <p:cNvSpPr txBox="1"/>
          <p:nvPr/>
        </p:nvSpPr>
        <p:spPr>
          <a:xfrm>
            <a:off x="8400256" y="1683946"/>
            <a:ext cx="3744416" cy="400955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"</a:t>
            </a:r>
            <a:r>
              <a:rPr lang="en-US" sz="900" kern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mmation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{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deRetour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"987845454"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nie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"56"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mPrenom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uma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mine"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prefecture": 45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commune": 12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quartier":65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ousQuartier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658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meuble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6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lementAdresse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ulfa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sablanca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}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7" name="Cuadro de texto 81">
            <a:extLst>
              <a:ext uri="{FF2B5EF4-FFF2-40B4-BE49-F238E27FC236}">
                <a16:creationId xmlns:a16="http://schemas.microsoft.com/office/drawing/2014/main" id="{987E6D24-EB65-4B8E-8057-5E29B914E4E4}"/>
              </a:ext>
            </a:extLst>
          </p:cNvPr>
          <p:cNvSpPr txBox="1"/>
          <p:nvPr/>
        </p:nvSpPr>
        <p:spPr>
          <a:xfrm>
            <a:off x="9912424" y="1683946"/>
            <a:ext cx="97980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s-ES" altLang="en-US" dirty="0" err="1"/>
              <a:t>Réponse</a:t>
            </a:r>
            <a:endParaRPr lang="es-ES" altLang="en-US" dirty="0"/>
          </a:p>
        </p:txBody>
      </p:sp>
      <p:sp>
        <p:nvSpPr>
          <p:cNvPr id="88" name="Cuadro de texto 85">
            <a:extLst>
              <a:ext uri="{FF2B5EF4-FFF2-40B4-BE49-F238E27FC236}">
                <a16:creationId xmlns:a16="http://schemas.microsoft.com/office/drawing/2014/main" id="{3A5F1B8D-D51D-4916-9A57-3B4CCBAFE805}"/>
              </a:ext>
            </a:extLst>
          </p:cNvPr>
          <p:cNvSpPr txBox="1"/>
          <p:nvPr/>
        </p:nvSpPr>
        <p:spPr>
          <a:xfrm>
            <a:off x="10933015" y="1753161"/>
            <a:ext cx="887730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REST/JSON</a:t>
            </a:r>
          </a:p>
        </p:txBody>
      </p:sp>
      <p:sp>
        <p:nvSpPr>
          <p:cNvPr id="31" name="Óvalo 15">
            <a:extLst>
              <a:ext uri="{FF2B5EF4-FFF2-40B4-BE49-F238E27FC236}">
                <a16:creationId xmlns:a16="http://schemas.microsoft.com/office/drawing/2014/main" id="{FC35327E-D25A-4C40-9262-EA0077A524B7}"/>
              </a:ext>
            </a:extLst>
          </p:cNvPr>
          <p:cNvSpPr/>
          <p:nvPr/>
        </p:nvSpPr>
        <p:spPr>
          <a:xfrm>
            <a:off x="650152" y="4598149"/>
            <a:ext cx="539115" cy="512445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 sz="400"/>
          </a:p>
        </p:txBody>
      </p:sp>
      <p:sp>
        <p:nvSpPr>
          <p:cNvPr id="32" name="Cuadro de texto 16">
            <a:extLst>
              <a:ext uri="{FF2B5EF4-FFF2-40B4-BE49-F238E27FC236}">
                <a16:creationId xmlns:a16="http://schemas.microsoft.com/office/drawing/2014/main" id="{AB54F465-A1F8-4325-A63A-BA23D7A4930F}"/>
              </a:ext>
            </a:extLst>
          </p:cNvPr>
          <p:cNvSpPr txBox="1"/>
          <p:nvPr/>
        </p:nvSpPr>
        <p:spPr>
          <a:xfrm>
            <a:off x="236961" y="5337250"/>
            <a:ext cx="1427480" cy="2298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s-ES" altLang="en-US" sz="900" dirty="0" err="1">
                <a:solidFill>
                  <a:schemeClr val="tx1"/>
                </a:solidFill>
              </a:rPr>
              <a:t>Nouveaux</a:t>
            </a:r>
            <a:r>
              <a:rPr lang="es-ES" altLang="en-US" sz="900" dirty="0">
                <a:solidFill>
                  <a:schemeClr val="tx1"/>
                </a:solidFill>
              </a:rPr>
              <a:t> </a:t>
            </a:r>
            <a:r>
              <a:rPr lang="es-ES" altLang="en-US" sz="900" dirty="0" err="1">
                <a:solidFill>
                  <a:schemeClr val="tx1"/>
                </a:solidFill>
              </a:rPr>
              <a:t>consommateurs</a:t>
            </a:r>
            <a:endParaRPr lang="es-ES" altLang="en-US" sz="900" dirty="0">
              <a:solidFill>
                <a:schemeClr val="tx1"/>
              </a:solidFill>
            </a:endParaRPr>
          </a:p>
        </p:txBody>
      </p:sp>
      <p:cxnSp>
        <p:nvCxnSpPr>
          <p:cNvPr id="33" name="Conector recto 23">
            <a:extLst>
              <a:ext uri="{FF2B5EF4-FFF2-40B4-BE49-F238E27FC236}">
                <a16:creationId xmlns:a16="http://schemas.microsoft.com/office/drawing/2014/main" id="{7F60B471-6F60-43F0-BB3F-4D951E4FF684}"/>
              </a:ext>
            </a:extLst>
          </p:cNvPr>
          <p:cNvCxnSpPr/>
          <p:nvPr/>
        </p:nvCxnSpPr>
        <p:spPr>
          <a:xfrm>
            <a:off x="920027" y="4189209"/>
            <a:ext cx="0" cy="339725"/>
          </a:xfrm>
          <a:prstGeom prst="line">
            <a:avLst/>
          </a:prstGeom>
          <a:ln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59658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179"/>
          <p:cNvSpPr/>
          <p:nvPr/>
        </p:nvSpPr>
        <p:spPr>
          <a:xfrm>
            <a:off x="0" y="1107367"/>
            <a:ext cx="12192000" cy="4193842"/>
          </a:xfrm>
          <a:custGeom>
            <a:avLst/>
            <a:gdLst/>
            <a:ahLst/>
            <a:cxnLst/>
            <a:rect l="l" t="t" r="r" b="b"/>
            <a:pathLst>
              <a:path w="2322829" h="4482465">
                <a:moveTo>
                  <a:pt x="0" y="0"/>
                </a:moveTo>
                <a:lnTo>
                  <a:pt x="2322576" y="0"/>
                </a:lnTo>
                <a:lnTo>
                  <a:pt x="2322576" y="4482083"/>
                </a:lnTo>
                <a:lnTo>
                  <a:pt x="0" y="4482083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 lang="fr-FR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ym typeface="+mn-ea"/>
              </a:rPr>
              <a:t>Cas </a:t>
            </a:r>
            <a:r>
              <a:rPr lang="en-US" dirty="0" err="1">
                <a:sym typeface="+mn-ea"/>
              </a:rPr>
              <a:t>d’utilisation</a:t>
            </a:r>
            <a:r>
              <a:rPr lang="es-ES" altLang="en-US" dirty="0">
                <a:sym typeface="+mn-ea"/>
              </a:rPr>
              <a:t> </a:t>
            </a:r>
            <a:r>
              <a:rPr lang="fr-FR" altLang="en-US" dirty="0"/>
              <a:t>RSU</a:t>
            </a:r>
            <a:endParaRPr lang="en-US" dirty="0"/>
          </a:p>
        </p:txBody>
      </p:sp>
      <p:sp>
        <p:nvSpPr>
          <p:cNvPr id="3" name="Cuadro de texto 2"/>
          <p:cNvSpPr txBox="1"/>
          <p:nvPr/>
        </p:nvSpPr>
        <p:spPr>
          <a:xfrm>
            <a:off x="2216785" y="2202180"/>
            <a:ext cx="229044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altLang="en-US" dirty="0"/>
              <a:t>REDAL</a:t>
            </a:r>
            <a:endParaRPr lang="es-ES" altLang="en-US" b="1" dirty="0"/>
          </a:p>
          <a:p>
            <a:pPr algn="ctr"/>
            <a:r>
              <a:rPr lang="es-ES" altLang="en-US" b="1" dirty="0"/>
              <a:t>(</a:t>
            </a:r>
            <a:r>
              <a:rPr lang="es-ES" altLang="en-US" b="1" dirty="0" err="1"/>
              <a:t>consommation</a:t>
            </a:r>
            <a:r>
              <a:rPr lang="es-ES" altLang="en-US" b="1" dirty="0"/>
              <a:t>)</a:t>
            </a:r>
          </a:p>
        </p:txBody>
      </p:sp>
      <p:sp>
        <p:nvSpPr>
          <p:cNvPr id="4" name="Cuadro de texto 3"/>
          <p:cNvSpPr txBox="1"/>
          <p:nvPr/>
        </p:nvSpPr>
        <p:spPr>
          <a:xfrm>
            <a:off x="6609080" y="2202180"/>
            <a:ext cx="229044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n-US" b="1"/>
              <a:t>API</a:t>
            </a:r>
          </a:p>
        </p:txBody>
      </p:sp>
      <p:sp>
        <p:nvSpPr>
          <p:cNvPr id="9" name="Cuadro de texto 8"/>
          <p:cNvSpPr txBox="1"/>
          <p:nvPr/>
        </p:nvSpPr>
        <p:spPr>
          <a:xfrm>
            <a:off x="6769735" y="2493010"/>
            <a:ext cx="2632452" cy="4009559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"</a:t>
            </a:r>
            <a:r>
              <a:rPr lang="en-US" sz="900" kern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mmation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{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deRetour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"987845454"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nie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"56"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mPrenom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uma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mine"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prefecture": 45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commune": 12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quartier":65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ousQuartier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658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meuble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6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lementAdresse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ulfa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sablanca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}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Cuadro de texto 9"/>
          <p:cNvSpPr txBox="1"/>
          <p:nvPr/>
        </p:nvSpPr>
        <p:spPr>
          <a:xfrm>
            <a:off x="263525" y="1340485"/>
            <a:ext cx="11377930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s-ES" altLang="en-US" sz="1800" b="1" dirty="0" err="1"/>
              <a:t>recuperer-consommation-donnees</a:t>
            </a:r>
            <a:endParaRPr lang="es-ES" altLang="en-US" sz="1800" b="1" dirty="0"/>
          </a:p>
          <a:p>
            <a:r>
              <a:rPr lang="es-ES" altLang="en-US" dirty="0" err="1">
                <a:sym typeface="+mn-ea"/>
              </a:rPr>
              <a:t>Il</a:t>
            </a:r>
            <a:r>
              <a:rPr lang="es-ES" altLang="en-US" dirty="0">
                <a:sym typeface="+mn-ea"/>
              </a:rPr>
              <a:t> </a:t>
            </a:r>
            <a:r>
              <a:rPr lang="es-ES" altLang="en-US" dirty="0" err="1">
                <a:sym typeface="+mn-ea"/>
              </a:rPr>
              <a:t>s'agit</a:t>
            </a:r>
            <a:r>
              <a:rPr lang="es-ES" altLang="en-US" dirty="0">
                <a:sym typeface="+mn-ea"/>
              </a:rPr>
              <a:t> </a:t>
            </a:r>
            <a:r>
              <a:rPr lang="es-ES" altLang="en-US" dirty="0" err="1">
                <a:sym typeface="+mn-ea"/>
              </a:rPr>
              <a:t>d'une</a:t>
            </a:r>
            <a:r>
              <a:rPr lang="es-ES" altLang="en-US" dirty="0">
                <a:sym typeface="+mn-ea"/>
              </a:rPr>
              <a:t> </a:t>
            </a:r>
            <a:r>
              <a:rPr lang="es-ES" altLang="en-US" dirty="0" err="1">
                <a:sym typeface="+mn-ea"/>
              </a:rPr>
              <a:t>fonction</a:t>
            </a:r>
            <a:r>
              <a:rPr lang="es-ES" altLang="en-US" dirty="0">
                <a:sym typeface="+mn-ea"/>
              </a:rPr>
              <a:t> qui </a:t>
            </a:r>
            <a:r>
              <a:rPr lang="es-ES" altLang="en-US" dirty="0" err="1">
                <a:sym typeface="+mn-ea"/>
              </a:rPr>
              <a:t>vous</a:t>
            </a:r>
            <a:r>
              <a:rPr lang="es-ES" altLang="en-US" dirty="0">
                <a:sym typeface="+mn-ea"/>
              </a:rPr>
              <a:t> </a:t>
            </a:r>
            <a:r>
              <a:rPr lang="es-ES" altLang="en-US" dirty="0" err="1">
                <a:sym typeface="+mn-ea"/>
              </a:rPr>
              <a:t>permet</a:t>
            </a:r>
            <a:r>
              <a:rPr lang="es-ES" altLang="en-US" dirty="0">
                <a:sym typeface="+mn-ea"/>
              </a:rPr>
              <a:t> de </a:t>
            </a:r>
            <a:r>
              <a:rPr lang="es-ES" altLang="en-US" dirty="0" err="1">
                <a:sym typeface="+mn-ea"/>
              </a:rPr>
              <a:t>récupérer</a:t>
            </a:r>
            <a:r>
              <a:rPr lang="es-ES" altLang="en-US" dirty="0">
                <a:sym typeface="+mn-ea"/>
              </a:rPr>
              <a:t> la liste des </a:t>
            </a:r>
            <a:r>
              <a:rPr lang="es-ES" altLang="en-US" dirty="0" err="1">
                <a:sym typeface="+mn-ea"/>
              </a:rPr>
              <a:t>consommations</a:t>
            </a:r>
            <a:r>
              <a:rPr lang="es-ES" altLang="en-US" dirty="0">
                <a:sym typeface="+mn-ea"/>
              </a:rPr>
              <a:t> </a:t>
            </a:r>
            <a:r>
              <a:rPr lang="es-ES" altLang="en-US" dirty="0" err="1">
                <a:sym typeface="+mn-ea"/>
              </a:rPr>
              <a:t>supérieur</a:t>
            </a:r>
            <a:r>
              <a:rPr lang="es-ES" altLang="en-US" dirty="0">
                <a:sym typeface="+mn-ea"/>
              </a:rPr>
              <a:t> a 2020.</a:t>
            </a:r>
            <a:endParaRPr lang="es-ES" altLang="en-US" dirty="0"/>
          </a:p>
        </p:txBody>
      </p:sp>
      <p:sp>
        <p:nvSpPr>
          <p:cNvPr id="5" name="Cuadro de texto 4"/>
          <p:cNvSpPr txBox="1"/>
          <p:nvPr/>
        </p:nvSpPr>
        <p:spPr>
          <a:xfrm>
            <a:off x="2827655" y="2816225"/>
            <a:ext cx="1883849" cy="3046988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CodeRetour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string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CNIE":"</a:t>
            </a:r>
            <a:r>
              <a:rPr lang="es-ES" altLang="en-US" sz="800" dirty="0" err="1">
                <a:sym typeface="+mn-ea"/>
              </a:rPr>
              <a:t>string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NomPrenom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string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Prefectur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Commun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Quartier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Sousquartier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Immeubl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ComplementAdresse</a:t>
            </a:r>
            <a:r>
              <a:rPr lang="es-ES" altLang="en-US" sz="800" dirty="0">
                <a:sym typeface="+mn-ea"/>
              </a:rPr>
              <a:t>": "</a:t>
            </a:r>
            <a:r>
              <a:rPr lang="es-ES" altLang="en-US" sz="800" dirty="0" err="1">
                <a:sym typeface="+mn-ea"/>
              </a:rPr>
              <a:t>string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ListeConsommations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Mois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integ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Anné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integ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MontantEau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MontantElectricit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ListeConsommationAutresRésidences</a:t>
            </a:r>
            <a:r>
              <a:rPr lang="es-ES" altLang="en-US" sz="800" dirty="0">
                <a:sym typeface="+mn-ea"/>
              </a:rPr>
              <a:t>  "</a:t>
            </a:r>
          </a:p>
          <a:p>
            <a:pPr algn="l"/>
            <a:r>
              <a:rPr lang="es-ES" altLang="en-US" sz="800" dirty="0">
                <a:sym typeface="+mn-ea"/>
              </a:rPr>
              <a:t> "CIL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 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Adress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string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Commun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Mois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integ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Anné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integ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MontantEau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MontantElectricit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 </a:t>
            </a:r>
          </a:p>
          <a:p>
            <a:endParaRPr lang="es-ES" altLang="en-US" sz="800" dirty="0">
              <a:sym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651157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5680" y="2584704"/>
            <a:ext cx="5096933" cy="3064933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jW6fRS3C2H6NBcEieI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PNXYAZQHi06ICKl3UmS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heme/theme1.xml><?xml version="1.0" encoding="utf-8"?>
<a:theme xmlns:a="http://schemas.openxmlformats.org/drawingml/2006/main" name="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Minsait_externa_03102018</Template>
  <TotalTime>11913</TotalTime>
  <Words>933</Words>
  <Application>Microsoft Office PowerPoint</Application>
  <PresentationFormat>Grand écran</PresentationFormat>
  <Paragraphs>220</Paragraphs>
  <Slides>8</Slides>
  <Notes>5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9" baseType="lpstr">
      <vt:lpstr>Microsoft YaHei UI</vt:lpstr>
      <vt:lpstr>Arial</vt:lpstr>
      <vt:lpstr>Calibri</vt:lpstr>
      <vt:lpstr>Calibri Light</vt:lpstr>
      <vt:lpstr>Ebrima</vt:lpstr>
      <vt:lpstr>Playfair Display</vt:lpstr>
      <vt:lpstr>Soho Gothic Pro</vt:lpstr>
      <vt:lpstr>Soho Gothic Pro Light</vt:lpstr>
      <vt:lpstr>Portadas</vt:lpstr>
      <vt:lpstr>Diseño personalizado</vt:lpstr>
      <vt:lpstr>Diapositiva de think-cell</vt:lpstr>
      <vt:lpstr>Diagramme d'interconnectivité entre les systèmes</vt:lpstr>
      <vt:lpstr>Diagramme d'interconnectivité  </vt:lpstr>
      <vt:lpstr>Cas d’utilisation RSU</vt:lpstr>
      <vt:lpstr>Cas d’utilisation RSU</vt:lpstr>
      <vt:lpstr>Cas d’utilisation RSU</vt:lpstr>
      <vt:lpstr>Cas d’utilisation RSU</vt:lpstr>
      <vt:lpstr>Cas d’utilisation RSU</vt:lpstr>
      <vt:lpstr>Présentation PowerPoint</vt:lpstr>
    </vt:vector>
  </TitlesOfParts>
  <Company>Indra Sistemas S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se en place d'une plate-forme de données et de services Casa Urban Platform pour la ville de Casablanca</dc:title>
  <dc:creator/>
  <cp:lastModifiedBy>Amine DOUMA</cp:lastModifiedBy>
  <cp:revision>636</cp:revision>
  <cp:lastPrinted>2018-09-05T10:32:00Z</cp:lastPrinted>
  <dcterms:created xsi:type="dcterms:W3CDTF">2019-05-13T10:08:00Z</dcterms:created>
  <dcterms:modified xsi:type="dcterms:W3CDTF">2021-06-24T14:38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B33B83192E2FC459A30670C423A9DCD</vt:lpwstr>
  </property>
  <property fmtid="{D5CDD505-2E9C-101B-9397-08002B2CF9AE}" pid="3" name="KSOProductBuildVer">
    <vt:lpwstr>3082-11.2.0.10114</vt:lpwstr>
  </property>
</Properties>
</file>